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4"/>
  </p:sldMasterIdLst>
  <p:notesMasterIdLst>
    <p:notesMasterId r:id="rId6"/>
  </p:notesMasterIdLst>
  <p:sldIdLst>
    <p:sldId id="718" r:id="rId5"/>
  </p:sldIdLst>
  <p:sldSz cx="9144000" cy="5143500" type="screen16x9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EE00CC1-D9EA-4293-B213-0F47F24A5DC7}" v="2" dt="2025-07-28T05:27:34.490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660"/>
  </p:normalViewPr>
  <p:slideViewPr>
    <p:cSldViewPr snapToGrid="0">
      <p:cViewPr varScale="1">
        <p:scale>
          <a:sx n="106" d="100"/>
          <a:sy n="106" d="100"/>
        </p:scale>
        <p:origin x="806" y="7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presProps" Target="presProps.xml"/><Relationship Id="rId12" Type="http://schemas.microsoft.com/office/2015/10/relationships/revisionInfo" Target="revisionInfo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microsoft.com/office/2016/11/relationships/changesInfo" Target="changesInfos/changesInfo1.xml"/><Relationship Id="rId5" Type="http://schemas.openxmlformats.org/officeDocument/2006/relationships/slide" Target="slides/slide1.xml"/><Relationship Id="rId10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nali Mohite" userId="5fa1a947-bdac-4000-8ebe-9ba25b7dd8d4" providerId="ADAL" clId="{80AE88FB-58B1-4510-B27F-762798B1B75E}"/>
    <pc:docChg chg="undo custSel modSld modMainMaster">
      <pc:chgData name="Manali Mohite" userId="5fa1a947-bdac-4000-8ebe-9ba25b7dd8d4" providerId="ADAL" clId="{80AE88FB-58B1-4510-B27F-762798B1B75E}" dt="2025-07-01T12:43:24.779" v="248" actId="1076"/>
      <pc:docMkLst>
        <pc:docMk/>
      </pc:docMkLst>
      <pc:sldChg chg="addSp delSp modSp mod">
        <pc:chgData name="Manali Mohite" userId="5fa1a947-bdac-4000-8ebe-9ba25b7dd8d4" providerId="ADAL" clId="{80AE88FB-58B1-4510-B27F-762798B1B75E}" dt="2025-07-01T12:43:24.779" v="248" actId="1076"/>
        <pc:sldMkLst>
          <pc:docMk/>
          <pc:sldMk cId="25141631" sldId="718"/>
        </pc:sldMkLst>
        <pc:spChg chg="mod">
          <ac:chgData name="Manali Mohite" userId="5fa1a947-bdac-4000-8ebe-9ba25b7dd8d4" providerId="ADAL" clId="{80AE88FB-58B1-4510-B27F-762798B1B75E}" dt="2025-07-01T12:43:07.125" v="244" actId="2711"/>
          <ac:spMkLst>
            <pc:docMk/>
            <pc:sldMk cId="25141631" sldId="718"/>
            <ac:spMk id="10" creationId="{497DEBBA-575E-7641-4982-FAC8AA8ADEDC}"/>
          </ac:spMkLst>
        </pc:spChg>
        <pc:spChg chg="mod">
          <ac:chgData name="Manali Mohite" userId="5fa1a947-bdac-4000-8ebe-9ba25b7dd8d4" providerId="ADAL" clId="{80AE88FB-58B1-4510-B27F-762798B1B75E}" dt="2025-06-24T07:42:40.598" v="232" actId="20577"/>
          <ac:spMkLst>
            <pc:docMk/>
            <pc:sldMk cId="25141631" sldId="718"/>
            <ac:spMk id="24" creationId="{9FC60003-15E0-9B8D-90CD-0A29D73730FD}"/>
          </ac:spMkLst>
        </pc:spChg>
        <pc:spChg chg="mod">
          <ac:chgData name="Manali Mohite" userId="5fa1a947-bdac-4000-8ebe-9ba25b7dd8d4" providerId="ADAL" clId="{80AE88FB-58B1-4510-B27F-762798B1B75E}" dt="2025-06-24T07:42:38.480" v="231" actId="20577"/>
          <ac:spMkLst>
            <pc:docMk/>
            <pc:sldMk cId="25141631" sldId="718"/>
            <ac:spMk id="25" creationId="{F827FFF2-2FF2-5C20-98A8-3F084F240D04}"/>
          </ac:spMkLst>
        </pc:spChg>
        <pc:spChg chg="mod">
          <ac:chgData name="Manali Mohite" userId="5fa1a947-bdac-4000-8ebe-9ba25b7dd8d4" providerId="ADAL" clId="{80AE88FB-58B1-4510-B27F-762798B1B75E}" dt="2025-07-01T12:43:24.779" v="248" actId="1076"/>
          <ac:spMkLst>
            <pc:docMk/>
            <pc:sldMk cId="25141631" sldId="718"/>
            <ac:spMk id="26" creationId="{17C51DD0-971C-813D-069F-5048D87A328C}"/>
          </ac:spMkLst>
        </pc:spChg>
        <pc:spChg chg="mod">
          <ac:chgData name="Manali Mohite" userId="5fa1a947-bdac-4000-8ebe-9ba25b7dd8d4" providerId="ADAL" clId="{80AE88FB-58B1-4510-B27F-762798B1B75E}" dt="2025-07-01T12:43:24.779" v="248" actId="1076"/>
          <ac:spMkLst>
            <pc:docMk/>
            <pc:sldMk cId="25141631" sldId="718"/>
            <ac:spMk id="27" creationId="{FDE3F874-18F8-46D8-A8C9-5EA5CCF9B848}"/>
          </ac:spMkLst>
        </pc:spChg>
        <pc:spChg chg="mod">
          <ac:chgData name="Manali Mohite" userId="5fa1a947-bdac-4000-8ebe-9ba25b7dd8d4" providerId="ADAL" clId="{80AE88FB-58B1-4510-B27F-762798B1B75E}" dt="2025-07-01T12:43:24.779" v="248" actId="1076"/>
          <ac:spMkLst>
            <pc:docMk/>
            <pc:sldMk cId="25141631" sldId="718"/>
            <ac:spMk id="28" creationId="{C8D5CBB9-8F87-368B-4353-CACE4D53E437}"/>
          </ac:spMkLst>
        </pc:spChg>
        <pc:spChg chg="mod">
          <ac:chgData name="Manali Mohite" userId="5fa1a947-bdac-4000-8ebe-9ba25b7dd8d4" providerId="ADAL" clId="{80AE88FB-58B1-4510-B27F-762798B1B75E}" dt="2025-07-01T12:43:18.146" v="247" actId="403"/>
          <ac:spMkLst>
            <pc:docMk/>
            <pc:sldMk cId="25141631" sldId="718"/>
            <ac:spMk id="29" creationId="{A9C31B1E-0CD3-47F8-3C21-7083DD962B7F}"/>
          </ac:spMkLst>
        </pc:spChg>
        <pc:spChg chg="mod">
          <ac:chgData name="Manali Mohite" userId="5fa1a947-bdac-4000-8ebe-9ba25b7dd8d4" providerId="ADAL" clId="{80AE88FB-58B1-4510-B27F-762798B1B75E}" dt="2025-07-01T12:43:24.779" v="248" actId="1076"/>
          <ac:spMkLst>
            <pc:docMk/>
            <pc:sldMk cId="25141631" sldId="718"/>
            <ac:spMk id="30" creationId="{CBB00618-E8BC-9306-BFD1-05E90F799710}"/>
          </ac:spMkLst>
        </pc:spChg>
        <pc:spChg chg="mod topLvl">
          <ac:chgData name="Manali Mohite" userId="5fa1a947-bdac-4000-8ebe-9ba25b7dd8d4" providerId="ADAL" clId="{80AE88FB-58B1-4510-B27F-762798B1B75E}" dt="2025-07-01T12:43:24.779" v="248" actId="1076"/>
          <ac:spMkLst>
            <pc:docMk/>
            <pc:sldMk cId="25141631" sldId="718"/>
            <ac:spMk id="31" creationId="{7771FEB2-5141-A500-BCD6-20A57BB00248}"/>
          </ac:spMkLst>
        </pc:spChg>
        <pc:spChg chg="mod topLvl">
          <ac:chgData name="Manali Mohite" userId="5fa1a947-bdac-4000-8ebe-9ba25b7dd8d4" providerId="ADAL" clId="{80AE88FB-58B1-4510-B27F-762798B1B75E}" dt="2025-06-24T07:42:01.100" v="188" actId="165"/>
          <ac:spMkLst>
            <pc:docMk/>
            <pc:sldMk cId="25141631" sldId="718"/>
            <ac:spMk id="32" creationId="{00000000-0000-0000-0000-000000000000}"/>
          </ac:spMkLst>
        </pc:spChg>
        <pc:spChg chg="mod topLvl">
          <ac:chgData name="Manali Mohite" userId="5fa1a947-bdac-4000-8ebe-9ba25b7dd8d4" providerId="ADAL" clId="{80AE88FB-58B1-4510-B27F-762798B1B75E}" dt="2025-07-01T12:43:24.779" v="248" actId="1076"/>
          <ac:spMkLst>
            <pc:docMk/>
            <pc:sldMk cId="25141631" sldId="718"/>
            <ac:spMk id="33" creationId="{00000000-0000-0000-0000-000000000000}"/>
          </ac:spMkLst>
        </pc:spChg>
        <pc:spChg chg="mod topLvl">
          <ac:chgData name="Manali Mohite" userId="5fa1a947-bdac-4000-8ebe-9ba25b7dd8d4" providerId="ADAL" clId="{80AE88FB-58B1-4510-B27F-762798B1B75E}" dt="2025-06-24T07:42:01.100" v="188" actId="165"/>
          <ac:spMkLst>
            <pc:docMk/>
            <pc:sldMk cId="25141631" sldId="718"/>
            <ac:spMk id="34" creationId="{00000000-0000-0000-0000-000000000000}"/>
          </ac:spMkLst>
        </pc:spChg>
        <pc:spChg chg="mod topLvl">
          <ac:chgData name="Manali Mohite" userId="5fa1a947-bdac-4000-8ebe-9ba25b7dd8d4" providerId="ADAL" clId="{80AE88FB-58B1-4510-B27F-762798B1B75E}" dt="2025-07-01T12:43:07.125" v="244" actId="2711"/>
          <ac:spMkLst>
            <pc:docMk/>
            <pc:sldMk cId="25141631" sldId="718"/>
            <ac:spMk id="35" creationId="{00000000-0000-0000-0000-000000000000}"/>
          </ac:spMkLst>
        </pc:spChg>
        <pc:spChg chg="mod">
          <ac:chgData name="Manali Mohite" userId="5fa1a947-bdac-4000-8ebe-9ba25b7dd8d4" providerId="ADAL" clId="{80AE88FB-58B1-4510-B27F-762798B1B75E}" dt="2025-06-24T07:39:24.345" v="185" actId="165"/>
          <ac:spMkLst>
            <pc:docMk/>
            <pc:sldMk cId="25141631" sldId="718"/>
            <ac:spMk id="36" creationId="{00000000-0000-0000-0000-000000000000}"/>
          </ac:spMkLst>
        </pc:spChg>
        <pc:spChg chg="mod topLvl">
          <ac:chgData name="Manali Mohite" userId="5fa1a947-bdac-4000-8ebe-9ba25b7dd8d4" providerId="ADAL" clId="{80AE88FB-58B1-4510-B27F-762798B1B75E}" dt="2025-06-24T07:42:01.100" v="188" actId="165"/>
          <ac:spMkLst>
            <pc:docMk/>
            <pc:sldMk cId="25141631" sldId="718"/>
            <ac:spMk id="38" creationId="{00000000-0000-0000-0000-000000000000}"/>
          </ac:spMkLst>
        </pc:spChg>
        <pc:spChg chg="mod topLvl">
          <ac:chgData name="Manali Mohite" userId="5fa1a947-bdac-4000-8ebe-9ba25b7dd8d4" providerId="ADAL" clId="{80AE88FB-58B1-4510-B27F-762798B1B75E}" dt="2025-07-01T12:43:24.779" v="248" actId="1076"/>
          <ac:spMkLst>
            <pc:docMk/>
            <pc:sldMk cId="25141631" sldId="718"/>
            <ac:spMk id="39" creationId="{00000000-0000-0000-0000-000000000000}"/>
          </ac:spMkLst>
        </pc:spChg>
        <pc:spChg chg="mod topLvl">
          <ac:chgData name="Manali Mohite" userId="5fa1a947-bdac-4000-8ebe-9ba25b7dd8d4" providerId="ADAL" clId="{80AE88FB-58B1-4510-B27F-762798B1B75E}" dt="2025-06-24T07:42:01.100" v="188" actId="165"/>
          <ac:spMkLst>
            <pc:docMk/>
            <pc:sldMk cId="25141631" sldId="718"/>
            <ac:spMk id="40" creationId="{00000000-0000-0000-0000-000000000000}"/>
          </ac:spMkLst>
        </pc:spChg>
        <pc:spChg chg="mod topLvl">
          <ac:chgData name="Manali Mohite" userId="5fa1a947-bdac-4000-8ebe-9ba25b7dd8d4" providerId="ADAL" clId="{80AE88FB-58B1-4510-B27F-762798B1B75E}" dt="2025-06-24T07:42:01.100" v="188" actId="165"/>
          <ac:spMkLst>
            <pc:docMk/>
            <pc:sldMk cId="25141631" sldId="718"/>
            <ac:spMk id="41" creationId="{00000000-0000-0000-0000-000000000000}"/>
          </ac:spMkLst>
        </pc:spChg>
        <pc:spChg chg="mod">
          <ac:chgData name="Manali Mohite" userId="5fa1a947-bdac-4000-8ebe-9ba25b7dd8d4" providerId="ADAL" clId="{80AE88FB-58B1-4510-B27F-762798B1B75E}" dt="2025-06-24T07:39:24.345" v="185" actId="165"/>
          <ac:spMkLst>
            <pc:docMk/>
            <pc:sldMk cId="25141631" sldId="718"/>
            <ac:spMk id="42" creationId="{00000000-0000-0000-0000-000000000000}"/>
          </ac:spMkLst>
        </pc:spChg>
        <pc:spChg chg="mod">
          <ac:chgData name="Manali Mohite" userId="5fa1a947-bdac-4000-8ebe-9ba25b7dd8d4" providerId="ADAL" clId="{80AE88FB-58B1-4510-B27F-762798B1B75E}" dt="2025-06-24T07:39:24.345" v="185" actId="165"/>
          <ac:spMkLst>
            <pc:docMk/>
            <pc:sldMk cId="25141631" sldId="718"/>
            <ac:spMk id="43" creationId="{00000000-0000-0000-0000-000000000000}"/>
          </ac:spMkLst>
        </pc:spChg>
        <pc:spChg chg="mod">
          <ac:chgData name="Manali Mohite" userId="5fa1a947-bdac-4000-8ebe-9ba25b7dd8d4" providerId="ADAL" clId="{80AE88FB-58B1-4510-B27F-762798B1B75E}" dt="2025-06-24T07:39:24.345" v="185" actId="165"/>
          <ac:spMkLst>
            <pc:docMk/>
            <pc:sldMk cId="25141631" sldId="718"/>
            <ac:spMk id="46" creationId="{00000000-0000-0000-0000-000000000000}"/>
          </ac:spMkLst>
        </pc:spChg>
        <pc:spChg chg="mod">
          <ac:chgData name="Manali Mohite" userId="5fa1a947-bdac-4000-8ebe-9ba25b7dd8d4" providerId="ADAL" clId="{80AE88FB-58B1-4510-B27F-762798B1B75E}" dt="2025-07-01T12:43:07.125" v="244" actId="2711"/>
          <ac:spMkLst>
            <pc:docMk/>
            <pc:sldMk cId="25141631" sldId="718"/>
            <ac:spMk id="47" creationId="{00000000-0000-0000-0000-000000000000}"/>
          </ac:spMkLst>
        </pc:spChg>
        <pc:spChg chg="mod">
          <ac:chgData name="Manali Mohite" userId="5fa1a947-bdac-4000-8ebe-9ba25b7dd8d4" providerId="ADAL" clId="{80AE88FB-58B1-4510-B27F-762798B1B75E}" dt="2025-07-01T12:43:07.125" v="244" actId="2711"/>
          <ac:spMkLst>
            <pc:docMk/>
            <pc:sldMk cId="25141631" sldId="718"/>
            <ac:spMk id="49" creationId="{00000000-0000-0000-0000-000000000000}"/>
          </ac:spMkLst>
        </pc:spChg>
        <pc:spChg chg="mod">
          <ac:chgData name="Manali Mohite" userId="5fa1a947-bdac-4000-8ebe-9ba25b7dd8d4" providerId="ADAL" clId="{80AE88FB-58B1-4510-B27F-762798B1B75E}" dt="2025-06-24T07:39:24.345" v="185" actId="165"/>
          <ac:spMkLst>
            <pc:docMk/>
            <pc:sldMk cId="25141631" sldId="718"/>
            <ac:spMk id="50" creationId="{00000000-0000-0000-0000-000000000000}"/>
          </ac:spMkLst>
        </pc:spChg>
        <pc:spChg chg="mod topLvl">
          <ac:chgData name="Manali Mohite" userId="5fa1a947-bdac-4000-8ebe-9ba25b7dd8d4" providerId="ADAL" clId="{80AE88FB-58B1-4510-B27F-762798B1B75E}" dt="2025-07-01T12:43:18.146" v="247" actId="403"/>
          <ac:spMkLst>
            <pc:docMk/>
            <pc:sldMk cId="25141631" sldId="718"/>
            <ac:spMk id="51" creationId="{3276020E-1EC1-B166-D709-6FB5C672DFF1}"/>
          </ac:spMkLst>
        </pc:spChg>
        <pc:spChg chg="mod">
          <ac:chgData name="Manali Mohite" userId="5fa1a947-bdac-4000-8ebe-9ba25b7dd8d4" providerId="ADAL" clId="{80AE88FB-58B1-4510-B27F-762798B1B75E}" dt="2025-07-01T12:42:54.871" v="241" actId="207"/>
          <ac:spMkLst>
            <pc:docMk/>
            <pc:sldMk cId="25141631" sldId="718"/>
            <ac:spMk id="52" creationId="{21447721-54CD-383E-FD81-C453C31E2A5D}"/>
          </ac:spMkLst>
        </pc:spChg>
        <pc:spChg chg="mod">
          <ac:chgData name="Manali Mohite" userId="5fa1a947-bdac-4000-8ebe-9ba25b7dd8d4" providerId="ADAL" clId="{80AE88FB-58B1-4510-B27F-762798B1B75E}" dt="2025-07-01T12:43:07.125" v="244" actId="2711"/>
          <ac:spMkLst>
            <pc:docMk/>
            <pc:sldMk cId="25141631" sldId="718"/>
            <ac:spMk id="58" creationId="{00000000-0000-0000-0000-000000000000}"/>
          </ac:spMkLst>
        </pc:spChg>
        <pc:spChg chg="mod">
          <ac:chgData name="Manali Mohite" userId="5fa1a947-bdac-4000-8ebe-9ba25b7dd8d4" providerId="ADAL" clId="{80AE88FB-58B1-4510-B27F-762798B1B75E}" dt="2025-07-01T12:43:18.146" v="247" actId="403"/>
          <ac:spMkLst>
            <pc:docMk/>
            <pc:sldMk cId="25141631" sldId="718"/>
            <ac:spMk id="65" creationId="{235A6BB4-0FD3-6BA8-44B7-4F1424449067}"/>
          </ac:spMkLst>
        </pc:spChg>
        <pc:spChg chg="mod topLvl">
          <ac:chgData name="Manali Mohite" userId="5fa1a947-bdac-4000-8ebe-9ba25b7dd8d4" providerId="ADAL" clId="{80AE88FB-58B1-4510-B27F-762798B1B75E}" dt="2025-06-24T07:39:24.345" v="185" actId="165"/>
          <ac:spMkLst>
            <pc:docMk/>
            <pc:sldMk cId="25141631" sldId="718"/>
            <ac:spMk id="73" creationId="{AE966034-E5A6-21F0-5879-7BC04FF34A21}"/>
          </ac:spMkLst>
        </pc:spChg>
        <pc:spChg chg="mod">
          <ac:chgData name="Manali Mohite" userId="5fa1a947-bdac-4000-8ebe-9ba25b7dd8d4" providerId="ADAL" clId="{80AE88FB-58B1-4510-B27F-762798B1B75E}" dt="2025-07-01T12:43:07.125" v="244" actId="2711"/>
          <ac:spMkLst>
            <pc:docMk/>
            <pc:sldMk cId="25141631" sldId="718"/>
            <ac:spMk id="74" creationId="{6393D038-B1C2-043F-77D1-6869082BB49D}"/>
          </ac:spMkLst>
        </pc:spChg>
        <pc:spChg chg="mod">
          <ac:chgData name="Manali Mohite" userId="5fa1a947-bdac-4000-8ebe-9ba25b7dd8d4" providerId="ADAL" clId="{80AE88FB-58B1-4510-B27F-762798B1B75E}" dt="2025-06-24T07:39:05.165" v="87" actId="164"/>
          <ac:spMkLst>
            <pc:docMk/>
            <pc:sldMk cId="25141631" sldId="718"/>
            <ac:spMk id="75" creationId="{D95EBA73-8051-2DD5-BD8B-CF92E6FF6DF8}"/>
          </ac:spMkLst>
        </pc:spChg>
        <pc:spChg chg="mod">
          <ac:chgData name="Manali Mohite" userId="5fa1a947-bdac-4000-8ebe-9ba25b7dd8d4" providerId="ADAL" clId="{80AE88FB-58B1-4510-B27F-762798B1B75E}" dt="2025-07-01T12:43:07.125" v="244" actId="2711"/>
          <ac:spMkLst>
            <pc:docMk/>
            <pc:sldMk cId="25141631" sldId="718"/>
            <ac:spMk id="76" creationId="{C4A169F3-A1EF-BE4C-6CE5-380FF973775D}"/>
          </ac:spMkLst>
        </pc:spChg>
        <pc:spChg chg="mod">
          <ac:chgData name="Manali Mohite" userId="5fa1a947-bdac-4000-8ebe-9ba25b7dd8d4" providerId="ADAL" clId="{80AE88FB-58B1-4510-B27F-762798B1B75E}" dt="2025-07-01T12:43:24.779" v="248" actId="1076"/>
          <ac:spMkLst>
            <pc:docMk/>
            <pc:sldMk cId="25141631" sldId="718"/>
            <ac:spMk id="78" creationId="{00000000-0000-0000-0000-000000000000}"/>
          </ac:spMkLst>
        </pc:spChg>
        <pc:spChg chg="mod">
          <ac:chgData name="Manali Mohite" userId="5fa1a947-bdac-4000-8ebe-9ba25b7dd8d4" providerId="ADAL" clId="{80AE88FB-58B1-4510-B27F-762798B1B75E}" dt="2025-06-24T07:39:05.165" v="87" actId="164"/>
          <ac:spMkLst>
            <pc:docMk/>
            <pc:sldMk cId="25141631" sldId="718"/>
            <ac:spMk id="79" creationId="{00000000-0000-0000-0000-000000000000}"/>
          </ac:spMkLst>
        </pc:spChg>
        <pc:spChg chg="mod">
          <ac:chgData name="Manali Mohite" userId="5fa1a947-bdac-4000-8ebe-9ba25b7dd8d4" providerId="ADAL" clId="{80AE88FB-58B1-4510-B27F-762798B1B75E}" dt="2025-07-01T12:43:24.779" v="248" actId="1076"/>
          <ac:spMkLst>
            <pc:docMk/>
            <pc:sldMk cId="25141631" sldId="718"/>
            <ac:spMk id="80" creationId="{CD466EC6-1C4F-D6FE-F36A-0E013BBE90F3}"/>
          </ac:spMkLst>
        </pc:spChg>
        <pc:spChg chg="mod">
          <ac:chgData name="Manali Mohite" userId="5fa1a947-bdac-4000-8ebe-9ba25b7dd8d4" providerId="ADAL" clId="{80AE88FB-58B1-4510-B27F-762798B1B75E}" dt="2025-07-01T12:43:24.779" v="248" actId="1076"/>
          <ac:spMkLst>
            <pc:docMk/>
            <pc:sldMk cId="25141631" sldId="718"/>
            <ac:spMk id="85" creationId="{00000000-0000-0000-0000-000000000000}"/>
          </ac:spMkLst>
        </pc:spChg>
        <pc:graphicFrameChg chg="add mod ord modVis">
          <ac:chgData name="Manali Mohite" userId="5fa1a947-bdac-4000-8ebe-9ba25b7dd8d4" providerId="ADAL" clId="{80AE88FB-58B1-4510-B27F-762798B1B75E}" dt="2025-06-24T07:42:13.613" v="213"/>
          <ac:graphicFrameMkLst>
            <pc:docMk/>
            <pc:sldMk cId="25141631" sldId="718"/>
            <ac:graphicFrameMk id="3" creationId="{C7F1D80B-67CD-433F-7227-5F0586485C31}"/>
          </ac:graphicFrameMkLst>
        </pc:graphicFrameChg>
      </pc:sldChg>
      <pc:sldMasterChg chg="addSp modSp mod modSldLayout">
        <pc:chgData name="Manali Mohite" userId="5fa1a947-bdac-4000-8ebe-9ba25b7dd8d4" providerId="ADAL" clId="{80AE88FB-58B1-4510-B27F-762798B1B75E}" dt="2025-06-24T07:39:01.309" v="70"/>
        <pc:sldMasterMkLst>
          <pc:docMk/>
          <pc:sldMasterMk cId="681354446" sldId="2147483672"/>
        </pc:sldMasterMkLst>
        <pc:graphicFrameChg chg="add mod ord modVis">
          <ac:chgData name="Manali Mohite" userId="5fa1a947-bdac-4000-8ebe-9ba25b7dd8d4" providerId="ADAL" clId="{80AE88FB-58B1-4510-B27F-762798B1B75E}" dt="2025-06-24T07:39:01.276" v="54"/>
          <ac:graphicFrameMkLst>
            <pc:docMk/>
            <pc:sldMasterMk cId="681354446" sldId="2147483672"/>
            <ac:graphicFrameMk id="3" creationId="{980B42D5-7BFF-9306-C375-BEF8C300196E}"/>
          </ac:graphicFrameMkLst>
        </pc:graphicFrameChg>
        <pc:sldLayoutChg chg="addSp delSp modSp mod">
          <pc:chgData name="Manali Mohite" userId="5fa1a947-bdac-4000-8ebe-9ba25b7dd8d4" providerId="ADAL" clId="{80AE88FB-58B1-4510-B27F-762798B1B75E}" dt="2025-06-24T07:39:01.309" v="70"/>
          <pc:sldLayoutMkLst>
            <pc:docMk/>
            <pc:sldMasterMk cId="681354446" sldId="2147483672"/>
            <pc:sldLayoutMk cId="453095163" sldId="2147483673"/>
          </pc:sldLayoutMkLst>
          <pc:spChg chg="mod">
            <ac:chgData name="Manali Mohite" userId="5fa1a947-bdac-4000-8ebe-9ba25b7dd8d4" providerId="ADAL" clId="{80AE88FB-58B1-4510-B27F-762798B1B75E}" dt="2025-06-24T07:39:01.119" v="0" actId="948"/>
            <ac:spMkLst>
              <pc:docMk/>
              <pc:sldMasterMk cId="681354446" sldId="2147483672"/>
              <pc:sldLayoutMk cId="453095163" sldId="2147483673"/>
              <ac:spMk id="5" creationId="{00000000-0000-0000-0000-000000000000}"/>
            </ac:spMkLst>
          </pc:spChg>
          <pc:graphicFrameChg chg="add mod ord modVis">
            <ac:chgData name="Manali Mohite" userId="5fa1a947-bdac-4000-8ebe-9ba25b7dd8d4" providerId="ADAL" clId="{80AE88FB-58B1-4510-B27F-762798B1B75E}" dt="2025-06-24T07:39:01.309" v="70"/>
            <ac:graphicFrameMkLst>
              <pc:docMk/>
              <pc:sldMasterMk cId="681354446" sldId="2147483672"/>
              <pc:sldLayoutMk cId="453095163" sldId="2147483673"/>
              <ac:graphicFrameMk id="3" creationId="{D1DF7447-FD76-2249-F8E8-50E38662AD01}"/>
            </ac:graphicFrameMkLst>
          </pc:graphicFrameChg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6CF4F15-243D-4EA4-BB42-4D59E1E2E068}" type="datetimeFigureOut">
              <a:rPr lang="en-GB" smtClean="0"/>
              <a:t>21/09/2025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0C99F05-38AD-4FEF-966E-73319858A0D1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4018291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in Title &amp; Subtitle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1DF7447-FD76-2249-F8E8-50E38662AD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56131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1DF7447-FD76-2249-F8E8-50E38662AD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87823" y="730532"/>
            <a:ext cx="8368363" cy="17325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l">
              <a:buNone/>
              <a:defRPr sz="750" b="0" i="0" baseline="0">
                <a:solidFill>
                  <a:schemeClr val="bg1">
                    <a:lumMod val="50000"/>
                  </a:schemeClr>
                </a:solidFill>
                <a:latin typeface="+mn-lt"/>
                <a:ea typeface="Roboto" panose="02000000000000000000" pitchFamily="2" charset="0"/>
              </a:defRPr>
            </a:lvl1pPr>
            <a:lvl2pPr marL="342884" indent="0">
              <a:buNone/>
              <a:defRPr sz="900"/>
            </a:lvl2pPr>
            <a:lvl3pPr marL="685766" indent="0">
              <a:buNone/>
              <a:defRPr sz="750"/>
            </a:lvl3pPr>
            <a:lvl4pPr marL="1028649" indent="0">
              <a:buNone/>
              <a:defRPr sz="675"/>
            </a:lvl4pPr>
            <a:lvl5pPr marL="1371532" indent="0">
              <a:buNone/>
              <a:defRPr sz="675"/>
            </a:lvl5pPr>
            <a:lvl6pPr marL="1714415" indent="0">
              <a:buNone/>
              <a:defRPr sz="675"/>
            </a:lvl6pPr>
            <a:lvl7pPr marL="2057297" indent="0">
              <a:buNone/>
              <a:defRPr sz="675"/>
            </a:lvl7pPr>
            <a:lvl8pPr marL="2400180" indent="0">
              <a:buNone/>
              <a:defRPr sz="675"/>
            </a:lvl8pPr>
            <a:lvl9pPr marL="2743064" indent="0">
              <a:buNone/>
              <a:defRPr sz="675"/>
            </a:lvl9pPr>
          </a:lstStyle>
          <a:p>
            <a:pPr lvl="0"/>
            <a:r>
              <a:rPr lang="en-US" dirty="0"/>
              <a:t>CLICK TO EDITE SUBTITLE</a:t>
            </a:r>
          </a:p>
        </p:txBody>
      </p:sp>
      <p:sp>
        <p:nvSpPr>
          <p:cNvPr id="5" name="Title 2"/>
          <p:cNvSpPr>
            <a:spLocks noGrp="1"/>
          </p:cNvSpPr>
          <p:nvPr>
            <p:ph type="title"/>
          </p:nvPr>
        </p:nvSpPr>
        <p:spPr>
          <a:xfrm>
            <a:off x="387823" y="282614"/>
            <a:ext cx="8368363" cy="409459"/>
          </a:xfrm>
          <a:prstGeom prst="rect">
            <a:avLst/>
          </a:prstGeom>
        </p:spPr>
        <p:txBody>
          <a:bodyPr vert="horz" lIns="0" tIns="0" rIns="0" bIns="0" anchor="ctr"/>
          <a:lstStyle>
            <a:lvl1pPr algn="l"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5309516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Title &amp; Subtitle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2"/>
          <p:cNvSpPr>
            <a:spLocks noGrp="1"/>
          </p:cNvSpPr>
          <p:nvPr>
            <p:ph type="title"/>
          </p:nvPr>
        </p:nvSpPr>
        <p:spPr>
          <a:xfrm>
            <a:off x="387823" y="282614"/>
            <a:ext cx="8368363" cy="409459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8749022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80B42D5-7BFF-9306-C375-BEF8C30019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038425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04" imgH="405" progId="TCLayout.ActiveDocument.1">
                  <p:embed/>
                </p:oleObj>
              </mc:Choice>
              <mc:Fallback>
                <p:oleObj name="think-cell Slide" r:id="rId5" imgW="404" imgH="40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80B42D5-7BFF-9306-C375-BEF8C30019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99F778C3-3BCA-36B8-94B5-7D1B4E89770E}"/>
              </a:ext>
            </a:extLst>
          </p:cNvPr>
          <p:cNvSpPr txBox="1">
            <a:spLocks/>
          </p:cNvSpPr>
          <p:nvPr userDrawn="1"/>
        </p:nvSpPr>
        <p:spPr>
          <a:xfrm>
            <a:off x="22225" y="4759746"/>
            <a:ext cx="388940" cy="274637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7737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F14B9FE-21E6-4B09-A80A-6ECAFC8A0C01}" type="slidenum">
              <a:rPr kumimoji="0" lang="en-US" sz="675" b="0" i="0" u="none" strike="noStrike" kern="1200" cap="none" spc="0" normalizeH="0" baseline="0" noProof="0" smtClean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ctr" defTabSz="77372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75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7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813544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</p:sldLayoutIdLst>
  <p:hf hdr="0" ftr="0" dt="0"/>
  <p:txStyles>
    <p:titleStyle>
      <a:lvl1pPr algn="ctr" defTabSz="685748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56" indent="-257156" algn="l" defTabSz="68574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171" indent="-214298" algn="l" defTabSz="685748" rtl="0" eaLnBrk="1" latinLnBrk="0" hangingPunct="1">
        <a:spcBef>
          <a:spcPct val="20000"/>
        </a:spcBef>
        <a:buFont typeface="Arial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186" indent="-171437" algn="l" defTabSz="685748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060" indent="-171437" algn="l" defTabSz="685748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2935" indent="-171437" algn="l" defTabSz="685748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808" indent="-171437" algn="l" defTabSz="685748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684" indent="-171437" algn="l" defTabSz="685748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557" indent="-171437" algn="l" defTabSz="685748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432" indent="-171437" algn="l" defTabSz="685748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4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75" algn="l" defTabSz="68574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48" algn="l" defTabSz="68574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24" algn="l" defTabSz="68574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498" algn="l" defTabSz="68574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372" algn="l" defTabSz="68574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46" algn="l" defTabSz="68574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120" algn="l" defTabSz="68574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2995" algn="l" defTabSz="68574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36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7F1D80B-67CD-433F-7227-5F0586485C3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25083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7F1D80B-67CD-433F-7227-5F0586485C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Rectangle 13"/>
          <p:cNvSpPr>
            <a:spLocks noChangeArrowheads="1"/>
          </p:cNvSpPr>
          <p:nvPr/>
        </p:nvSpPr>
        <p:spPr bwMode="auto">
          <a:xfrm>
            <a:off x="1322595" y="1870441"/>
            <a:ext cx="3846566" cy="552367"/>
          </a:xfrm>
          <a:prstGeom prst="rect">
            <a:avLst/>
          </a:prstGeom>
          <a:solidFill>
            <a:schemeClr val="accent4">
              <a:alpha val="90000"/>
            </a:schemeClr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739"/>
            <a:endParaRPr lang="en-US" sz="1350" dirty="0">
              <a:solidFill>
                <a:srgbClr val="000000"/>
              </a:solidFill>
            </a:endParaRPr>
          </a:p>
        </p:txBody>
      </p:sp>
      <p:sp>
        <p:nvSpPr>
          <p:cNvPr id="38" name="Freeform 16"/>
          <p:cNvSpPr>
            <a:spLocks/>
          </p:cNvSpPr>
          <p:nvPr/>
        </p:nvSpPr>
        <p:spPr bwMode="auto">
          <a:xfrm>
            <a:off x="2732227" y="1866807"/>
            <a:ext cx="1148650" cy="557817"/>
          </a:xfrm>
          <a:custGeom>
            <a:avLst/>
            <a:gdLst>
              <a:gd name="T0" fmla="*/ 514 w 691"/>
              <a:gd name="T1" fmla="*/ 0 h 307"/>
              <a:gd name="T2" fmla="*/ 691 w 691"/>
              <a:gd name="T3" fmla="*/ 307 h 307"/>
              <a:gd name="T4" fmla="*/ 0 w 691"/>
              <a:gd name="T5" fmla="*/ 307 h 307"/>
              <a:gd name="T6" fmla="*/ 0 w 691"/>
              <a:gd name="T7" fmla="*/ 0 h 307"/>
              <a:gd name="T8" fmla="*/ 514 w 691"/>
              <a:gd name="T9" fmla="*/ 0 h 3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91" h="307">
                <a:moveTo>
                  <a:pt x="514" y="0"/>
                </a:moveTo>
                <a:lnTo>
                  <a:pt x="691" y="307"/>
                </a:lnTo>
                <a:lnTo>
                  <a:pt x="0" y="307"/>
                </a:lnTo>
                <a:lnTo>
                  <a:pt x="0" y="0"/>
                </a:lnTo>
                <a:lnTo>
                  <a:pt x="514" y="0"/>
                </a:ln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739"/>
            <a:endParaRPr lang="en-US" sz="1350" dirty="0">
              <a:solidFill>
                <a:srgbClr val="000000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6E906893-B943-8A0D-DDCB-3B940CE8B41D}"/>
              </a:ext>
            </a:extLst>
          </p:cNvPr>
          <p:cNvGrpSpPr/>
          <p:nvPr/>
        </p:nvGrpSpPr>
        <p:grpSpPr>
          <a:xfrm>
            <a:off x="1671455" y="1252667"/>
            <a:ext cx="3381121" cy="559634"/>
            <a:chOff x="1661475" y="1112520"/>
            <a:chExt cx="3702242" cy="560615"/>
          </a:xfrm>
        </p:grpSpPr>
        <p:sp>
          <p:nvSpPr>
            <p:cNvPr id="36" name="Rectangle 14"/>
            <p:cNvSpPr>
              <a:spLocks noChangeArrowheads="1"/>
            </p:cNvSpPr>
            <p:nvPr/>
          </p:nvSpPr>
          <p:spPr bwMode="auto">
            <a:xfrm>
              <a:off x="1661475" y="1112520"/>
              <a:ext cx="3702242" cy="560615"/>
            </a:xfrm>
            <a:prstGeom prst="rect">
              <a:avLst/>
            </a:prstGeom>
            <a:solidFill>
              <a:schemeClr val="accent5">
                <a:alpha val="90000"/>
              </a:scheme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739"/>
              <a:endParaRPr lang="en-US" sz="1350" dirty="0">
                <a:solidFill>
                  <a:srgbClr val="000000"/>
                </a:solidFill>
              </a:endParaRPr>
            </a:p>
          </p:txBody>
        </p:sp>
        <p:sp>
          <p:nvSpPr>
            <p:cNvPr id="37" name="Freeform 15"/>
            <p:cNvSpPr>
              <a:spLocks/>
            </p:cNvSpPr>
            <p:nvPr/>
          </p:nvSpPr>
          <p:spPr bwMode="auto">
            <a:xfrm>
              <a:off x="2615248" y="1112520"/>
              <a:ext cx="1126690" cy="560615"/>
            </a:xfrm>
            <a:custGeom>
              <a:avLst/>
              <a:gdLst>
                <a:gd name="T0" fmla="*/ 442 w 619"/>
                <a:gd name="T1" fmla="*/ 0 h 308"/>
                <a:gd name="T2" fmla="*/ 619 w 619"/>
                <a:gd name="T3" fmla="*/ 308 h 308"/>
                <a:gd name="T4" fmla="*/ 0 w 619"/>
                <a:gd name="T5" fmla="*/ 308 h 308"/>
                <a:gd name="T6" fmla="*/ 0 w 619"/>
                <a:gd name="T7" fmla="*/ 0 h 308"/>
                <a:gd name="T8" fmla="*/ 442 w 619"/>
                <a:gd name="T9" fmla="*/ 0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9" h="308">
                  <a:moveTo>
                    <a:pt x="442" y="0"/>
                  </a:moveTo>
                  <a:lnTo>
                    <a:pt x="619" y="308"/>
                  </a:lnTo>
                  <a:lnTo>
                    <a:pt x="0" y="308"/>
                  </a:lnTo>
                  <a:lnTo>
                    <a:pt x="0" y="0"/>
                  </a:lnTo>
                  <a:lnTo>
                    <a:pt x="442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739"/>
              <a:endParaRPr lang="en-US" sz="1350" dirty="0">
                <a:solidFill>
                  <a:srgbClr val="000000"/>
                </a:solidFill>
              </a:endParaRPr>
            </a:p>
          </p:txBody>
        </p:sp>
      </p:grpSp>
      <p:sp>
        <p:nvSpPr>
          <p:cNvPr id="32" name="Rectangle 10"/>
          <p:cNvSpPr>
            <a:spLocks noChangeArrowheads="1"/>
          </p:cNvSpPr>
          <p:nvPr/>
        </p:nvSpPr>
        <p:spPr bwMode="auto">
          <a:xfrm>
            <a:off x="1010072" y="2480951"/>
            <a:ext cx="4278764" cy="554183"/>
          </a:xfrm>
          <a:prstGeom prst="rect">
            <a:avLst/>
          </a:prstGeom>
          <a:solidFill>
            <a:schemeClr val="accent3">
              <a:alpha val="90000"/>
            </a:schemeClr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739"/>
            <a:endParaRPr lang="en-US" sz="1350" dirty="0">
              <a:solidFill>
                <a:srgbClr val="000000"/>
              </a:solidFill>
            </a:endParaRPr>
          </a:p>
        </p:txBody>
      </p:sp>
      <p:sp>
        <p:nvSpPr>
          <p:cNvPr id="39" name="Freeform 17"/>
          <p:cNvSpPr>
            <a:spLocks/>
          </p:cNvSpPr>
          <p:nvPr/>
        </p:nvSpPr>
        <p:spPr bwMode="auto">
          <a:xfrm>
            <a:off x="2999846" y="2479134"/>
            <a:ext cx="1263349" cy="557817"/>
          </a:xfrm>
          <a:custGeom>
            <a:avLst/>
            <a:gdLst>
              <a:gd name="T0" fmla="*/ 584 w 760"/>
              <a:gd name="T1" fmla="*/ 0 h 307"/>
              <a:gd name="T2" fmla="*/ 760 w 760"/>
              <a:gd name="T3" fmla="*/ 307 h 307"/>
              <a:gd name="T4" fmla="*/ 0 w 760"/>
              <a:gd name="T5" fmla="*/ 307 h 307"/>
              <a:gd name="T6" fmla="*/ 0 w 760"/>
              <a:gd name="T7" fmla="*/ 0 h 307"/>
              <a:gd name="T8" fmla="*/ 584 w 760"/>
              <a:gd name="T9" fmla="*/ 0 h 3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60" h="307">
                <a:moveTo>
                  <a:pt x="584" y="0"/>
                </a:moveTo>
                <a:lnTo>
                  <a:pt x="760" y="307"/>
                </a:lnTo>
                <a:lnTo>
                  <a:pt x="0" y="307"/>
                </a:lnTo>
                <a:lnTo>
                  <a:pt x="0" y="0"/>
                </a:lnTo>
                <a:lnTo>
                  <a:pt x="584" y="0"/>
                </a:ln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739"/>
            <a:endParaRPr lang="en-US" sz="1350" dirty="0">
              <a:solidFill>
                <a:srgbClr val="000000"/>
              </a:solidFill>
            </a:endParaRPr>
          </a:p>
        </p:txBody>
      </p:sp>
      <p:sp>
        <p:nvSpPr>
          <p:cNvPr id="34" name="Rectangle 12"/>
          <p:cNvSpPr>
            <a:spLocks noChangeArrowheads="1"/>
          </p:cNvSpPr>
          <p:nvPr/>
        </p:nvSpPr>
        <p:spPr bwMode="auto">
          <a:xfrm>
            <a:off x="697548" y="3093279"/>
            <a:ext cx="4708467" cy="552366"/>
          </a:xfrm>
          <a:prstGeom prst="rect">
            <a:avLst/>
          </a:prstGeom>
          <a:solidFill>
            <a:schemeClr val="accent2">
              <a:alpha val="90000"/>
            </a:schemeClr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739"/>
            <a:endParaRPr lang="en-US" sz="1350" dirty="0">
              <a:solidFill>
                <a:srgbClr val="000000"/>
              </a:solidFill>
            </a:endParaRPr>
          </a:p>
        </p:txBody>
      </p:sp>
      <p:sp>
        <p:nvSpPr>
          <p:cNvPr id="40" name="Freeform 18"/>
          <p:cNvSpPr>
            <a:spLocks/>
          </p:cNvSpPr>
          <p:nvPr/>
        </p:nvSpPr>
        <p:spPr bwMode="auto">
          <a:xfrm>
            <a:off x="3215935" y="3089645"/>
            <a:ext cx="1294933" cy="559634"/>
          </a:xfrm>
          <a:custGeom>
            <a:avLst/>
            <a:gdLst>
              <a:gd name="T0" fmla="*/ 602 w 779"/>
              <a:gd name="T1" fmla="*/ 0 h 308"/>
              <a:gd name="T2" fmla="*/ 779 w 779"/>
              <a:gd name="T3" fmla="*/ 308 h 308"/>
              <a:gd name="T4" fmla="*/ 0 w 779"/>
              <a:gd name="T5" fmla="*/ 308 h 308"/>
              <a:gd name="T6" fmla="*/ 0 w 779"/>
              <a:gd name="T7" fmla="*/ 0 h 308"/>
              <a:gd name="T8" fmla="*/ 602 w 779"/>
              <a:gd name="T9" fmla="*/ 0 h 3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79" h="308">
                <a:moveTo>
                  <a:pt x="602" y="0"/>
                </a:moveTo>
                <a:lnTo>
                  <a:pt x="779" y="308"/>
                </a:lnTo>
                <a:lnTo>
                  <a:pt x="0" y="308"/>
                </a:lnTo>
                <a:lnTo>
                  <a:pt x="0" y="0"/>
                </a:lnTo>
                <a:lnTo>
                  <a:pt x="602" y="0"/>
                </a:ln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739"/>
            <a:endParaRPr lang="en-US" sz="1350" dirty="0">
              <a:solidFill>
                <a:srgbClr val="000000"/>
              </a:solidFill>
            </a:endParaRPr>
          </a:p>
        </p:txBody>
      </p:sp>
      <p:sp>
        <p:nvSpPr>
          <p:cNvPr id="33" name="Rectangle 11"/>
          <p:cNvSpPr>
            <a:spLocks noChangeArrowheads="1"/>
          </p:cNvSpPr>
          <p:nvPr/>
        </p:nvSpPr>
        <p:spPr bwMode="auto">
          <a:xfrm>
            <a:off x="399561" y="3700620"/>
            <a:ext cx="5124872" cy="554182"/>
          </a:xfrm>
          <a:prstGeom prst="rect">
            <a:avLst/>
          </a:prstGeom>
          <a:solidFill>
            <a:schemeClr val="accent1">
              <a:alpha val="90000"/>
            </a:schemeClr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739"/>
            <a:endParaRPr lang="en-US" sz="1350" dirty="0">
              <a:solidFill>
                <a:srgbClr val="000000"/>
              </a:solidFill>
            </a:endParaRPr>
          </a:p>
        </p:txBody>
      </p:sp>
      <p:sp>
        <p:nvSpPr>
          <p:cNvPr id="41" name="Freeform 19"/>
          <p:cNvSpPr>
            <a:spLocks/>
          </p:cNvSpPr>
          <p:nvPr/>
        </p:nvSpPr>
        <p:spPr bwMode="auto">
          <a:xfrm>
            <a:off x="3526349" y="3698802"/>
            <a:ext cx="1314881" cy="557817"/>
          </a:xfrm>
          <a:custGeom>
            <a:avLst/>
            <a:gdLst>
              <a:gd name="T0" fmla="*/ 613 w 791"/>
              <a:gd name="T1" fmla="*/ 0 h 307"/>
              <a:gd name="T2" fmla="*/ 791 w 791"/>
              <a:gd name="T3" fmla="*/ 307 h 307"/>
              <a:gd name="T4" fmla="*/ 0 w 791"/>
              <a:gd name="T5" fmla="*/ 307 h 307"/>
              <a:gd name="T6" fmla="*/ 0 w 791"/>
              <a:gd name="T7" fmla="*/ 0 h 307"/>
              <a:gd name="T8" fmla="*/ 613 w 791"/>
              <a:gd name="T9" fmla="*/ 0 h 3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91" h="307">
                <a:moveTo>
                  <a:pt x="613" y="0"/>
                </a:moveTo>
                <a:lnTo>
                  <a:pt x="791" y="307"/>
                </a:lnTo>
                <a:lnTo>
                  <a:pt x="0" y="307"/>
                </a:lnTo>
                <a:lnTo>
                  <a:pt x="0" y="0"/>
                </a:lnTo>
                <a:lnTo>
                  <a:pt x="613" y="0"/>
                </a:ln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739"/>
            <a:endParaRPr lang="en-US" sz="1350" dirty="0">
              <a:solidFill>
                <a:srgbClr val="000000"/>
              </a:solidFill>
            </a:endParaRPr>
          </a:p>
        </p:txBody>
      </p:sp>
      <p:grpSp>
        <p:nvGrpSpPr>
          <p:cNvPr id="71" name="Group 70"/>
          <p:cNvGrpSpPr/>
          <p:nvPr/>
        </p:nvGrpSpPr>
        <p:grpSpPr>
          <a:xfrm>
            <a:off x="1090019" y="3783735"/>
            <a:ext cx="3067083" cy="910312"/>
            <a:chOff x="1263651" y="3754438"/>
            <a:chExt cx="2679700" cy="795337"/>
          </a:xfrm>
        </p:grpSpPr>
        <p:sp>
          <p:nvSpPr>
            <p:cNvPr id="42" name="Freeform 20"/>
            <p:cNvSpPr>
              <a:spLocks/>
            </p:cNvSpPr>
            <p:nvPr/>
          </p:nvSpPr>
          <p:spPr bwMode="auto">
            <a:xfrm>
              <a:off x="1263651" y="3754438"/>
              <a:ext cx="2679700" cy="795337"/>
            </a:xfrm>
            <a:custGeom>
              <a:avLst/>
              <a:gdLst>
                <a:gd name="T0" fmla="*/ 145 w 1688"/>
                <a:gd name="T1" fmla="*/ 0 h 501"/>
                <a:gd name="T2" fmla="*/ 0 w 1688"/>
                <a:gd name="T3" fmla="*/ 262 h 501"/>
                <a:gd name="T4" fmla="*/ 844 w 1688"/>
                <a:gd name="T5" fmla="*/ 501 h 501"/>
                <a:gd name="T6" fmla="*/ 1688 w 1688"/>
                <a:gd name="T7" fmla="*/ 262 h 501"/>
                <a:gd name="T8" fmla="*/ 1543 w 1688"/>
                <a:gd name="T9" fmla="*/ 0 h 501"/>
                <a:gd name="T10" fmla="*/ 844 w 1688"/>
                <a:gd name="T11" fmla="*/ 198 h 501"/>
                <a:gd name="T12" fmla="*/ 145 w 1688"/>
                <a:gd name="T13" fmla="*/ 0 h 5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88" h="501">
                  <a:moveTo>
                    <a:pt x="145" y="0"/>
                  </a:moveTo>
                  <a:lnTo>
                    <a:pt x="0" y="262"/>
                  </a:lnTo>
                  <a:lnTo>
                    <a:pt x="844" y="501"/>
                  </a:lnTo>
                  <a:lnTo>
                    <a:pt x="1688" y="262"/>
                  </a:lnTo>
                  <a:lnTo>
                    <a:pt x="1543" y="0"/>
                  </a:lnTo>
                  <a:lnTo>
                    <a:pt x="844" y="198"/>
                  </a:lnTo>
                  <a:lnTo>
                    <a:pt x="14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739"/>
              <a:endParaRPr lang="en-US" sz="1350" dirty="0">
                <a:solidFill>
                  <a:srgbClr val="000000"/>
                </a:solidFill>
              </a:endParaRPr>
            </a:p>
          </p:txBody>
        </p:sp>
        <p:sp>
          <p:nvSpPr>
            <p:cNvPr id="56" name="Freeform 34"/>
            <p:cNvSpPr>
              <a:spLocks/>
            </p:cNvSpPr>
            <p:nvPr/>
          </p:nvSpPr>
          <p:spPr bwMode="auto">
            <a:xfrm>
              <a:off x="2603501" y="3754438"/>
              <a:ext cx="1339850" cy="795337"/>
            </a:xfrm>
            <a:custGeom>
              <a:avLst/>
              <a:gdLst>
                <a:gd name="T0" fmla="*/ 844 w 844"/>
                <a:gd name="T1" fmla="*/ 262 h 501"/>
                <a:gd name="T2" fmla="*/ 699 w 844"/>
                <a:gd name="T3" fmla="*/ 0 h 501"/>
                <a:gd name="T4" fmla="*/ 0 w 844"/>
                <a:gd name="T5" fmla="*/ 198 h 501"/>
                <a:gd name="T6" fmla="*/ 0 w 844"/>
                <a:gd name="T7" fmla="*/ 501 h 501"/>
                <a:gd name="T8" fmla="*/ 844 w 844"/>
                <a:gd name="T9" fmla="*/ 262 h 5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44" h="501">
                  <a:moveTo>
                    <a:pt x="844" y="262"/>
                  </a:moveTo>
                  <a:lnTo>
                    <a:pt x="699" y="0"/>
                  </a:lnTo>
                  <a:lnTo>
                    <a:pt x="0" y="198"/>
                  </a:lnTo>
                  <a:lnTo>
                    <a:pt x="0" y="501"/>
                  </a:lnTo>
                  <a:lnTo>
                    <a:pt x="844" y="262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739"/>
              <a:endParaRPr lang="en-US" sz="135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70" name="Group 69"/>
          <p:cNvGrpSpPr/>
          <p:nvPr/>
        </p:nvGrpSpPr>
        <p:grpSpPr>
          <a:xfrm>
            <a:off x="1353483" y="3240454"/>
            <a:ext cx="2540156" cy="903046"/>
            <a:chOff x="1493838" y="3279775"/>
            <a:chExt cx="2219326" cy="788988"/>
          </a:xfrm>
        </p:grpSpPr>
        <p:sp>
          <p:nvSpPr>
            <p:cNvPr id="43" name="Freeform 21"/>
            <p:cNvSpPr>
              <a:spLocks/>
            </p:cNvSpPr>
            <p:nvPr/>
          </p:nvSpPr>
          <p:spPr bwMode="auto">
            <a:xfrm>
              <a:off x="1493838" y="3279775"/>
              <a:ext cx="2219325" cy="738187"/>
            </a:xfrm>
            <a:custGeom>
              <a:avLst/>
              <a:gdLst>
                <a:gd name="T0" fmla="*/ 699 w 1398"/>
                <a:gd name="T1" fmla="*/ 157 h 465"/>
                <a:gd name="T2" fmla="*/ 147 w 1398"/>
                <a:gd name="T3" fmla="*/ 0 h 465"/>
                <a:gd name="T4" fmla="*/ 0 w 1398"/>
                <a:gd name="T5" fmla="*/ 267 h 465"/>
                <a:gd name="T6" fmla="*/ 699 w 1398"/>
                <a:gd name="T7" fmla="*/ 465 h 465"/>
                <a:gd name="T8" fmla="*/ 1398 w 1398"/>
                <a:gd name="T9" fmla="*/ 267 h 465"/>
                <a:gd name="T10" fmla="*/ 1251 w 1398"/>
                <a:gd name="T11" fmla="*/ 0 h 465"/>
                <a:gd name="T12" fmla="*/ 699 w 1398"/>
                <a:gd name="T13" fmla="*/ 157 h 4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98" h="465">
                  <a:moveTo>
                    <a:pt x="699" y="157"/>
                  </a:moveTo>
                  <a:lnTo>
                    <a:pt x="147" y="0"/>
                  </a:lnTo>
                  <a:lnTo>
                    <a:pt x="0" y="267"/>
                  </a:lnTo>
                  <a:lnTo>
                    <a:pt x="699" y="465"/>
                  </a:lnTo>
                  <a:lnTo>
                    <a:pt x="1398" y="267"/>
                  </a:lnTo>
                  <a:lnTo>
                    <a:pt x="1251" y="0"/>
                  </a:lnTo>
                  <a:lnTo>
                    <a:pt x="699" y="157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739"/>
              <a:endParaRPr lang="en-US" sz="1350" dirty="0">
                <a:solidFill>
                  <a:srgbClr val="000000"/>
                </a:solidFill>
              </a:endParaRPr>
            </a:p>
          </p:txBody>
        </p:sp>
        <p:sp>
          <p:nvSpPr>
            <p:cNvPr id="50" name="Freeform 28"/>
            <p:cNvSpPr>
              <a:spLocks/>
            </p:cNvSpPr>
            <p:nvPr/>
          </p:nvSpPr>
          <p:spPr bwMode="auto">
            <a:xfrm>
              <a:off x="1493838" y="3703638"/>
              <a:ext cx="2219325" cy="365125"/>
            </a:xfrm>
            <a:custGeom>
              <a:avLst/>
              <a:gdLst>
                <a:gd name="T0" fmla="*/ 0 w 1398"/>
                <a:gd name="T1" fmla="*/ 0 h 230"/>
                <a:gd name="T2" fmla="*/ 0 w 1398"/>
                <a:gd name="T3" fmla="*/ 32 h 230"/>
                <a:gd name="T4" fmla="*/ 699 w 1398"/>
                <a:gd name="T5" fmla="*/ 230 h 230"/>
                <a:gd name="T6" fmla="*/ 1398 w 1398"/>
                <a:gd name="T7" fmla="*/ 32 h 230"/>
                <a:gd name="T8" fmla="*/ 1398 w 1398"/>
                <a:gd name="T9" fmla="*/ 0 h 230"/>
                <a:gd name="T10" fmla="*/ 699 w 1398"/>
                <a:gd name="T11" fmla="*/ 198 h 230"/>
                <a:gd name="T12" fmla="*/ 0 w 1398"/>
                <a:gd name="T13" fmla="*/ 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98" h="230">
                  <a:moveTo>
                    <a:pt x="0" y="0"/>
                  </a:moveTo>
                  <a:lnTo>
                    <a:pt x="0" y="32"/>
                  </a:lnTo>
                  <a:lnTo>
                    <a:pt x="699" y="230"/>
                  </a:lnTo>
                  <a:lnTo>
                    <a:pt x="1398" y="32"/>
                  </a:lnTo>
                  <a:lnTo>
                    <a:pt x="1398" y="0"/>
                  </a:lnTo>
                  <a:lnTo>
                    <a:pt x="699" y="1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lumMod val="90000"/>
                <a:lumOff val="10000"/>
              </a:scheme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739"/>
              <a:endParaRPr lang="en-US" sz="1350" dirty="0">
                <a:solidFill>
                  <a:srgbClr val="000000"/>
                </a:solidFill>
              </a:endParaRPr>
            </a:p>
          </p:txBody>
        </p:sp>
        <p:sp>
          <p:nvSpPr>
            <p:cNvPr id="57" name="Freeform 35"/>
            <p:cNvSpPr>
              <a:spLocks/>
            </p:cNvSpPr>
            <p:nvPr/>
          </p:nvSpPr>
          <p:spPr bwMode="auto">
            <a:xfrm>
              <a:off x="2603501" y="3279775"/>
              <a:ext cx="1109663" cy="738187"/>
            </a:xfrm>
            <a:custGeom>
              <a:avLst/>
              <a:gdLst>
                <a:gd name="T0" fmla="*/ 699 w 699"/>
                <a:gd name="T1" fmla="*/ 267 h 465"/>
                <a:gd name="T2" fmla="*/ 552 w 699"/>
                <a:gd name="T3" fmla="*/ 0 h 465"/>
                <a:gd name="T4" fmla="*/ 0 w 699"/>
                <a:gd name="T5" fmla="*/ 157 h 465"/>
                <a:gd name="T6" fmla="*/ 0 w 699"/>
                <a:gd name="T7" fmla="*/ 465 h 465"/>
                <a:gd name="T8" fmla="*/ 699 w 699"/>
                <a:gd name="T9" fmla="*/ 267 h 4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99" h="465">
                  <a:moveTo>
                    <a:pt x="699" y="267"/>
                  </a:moveTo>
                  <a:lnTo>
                    <a:pt x="552" y="0"/>
                  </a:lnTo>
                  <a:lnTo>
                    <a:pt x="0" y="157"/>
                  </a:lnTo>
                  <a:lnTo>
                    <a:pt x="0" y="465"/>
                  </a:lnTo>
                  <a:lnTo>
                    <a:pt x="699" y="267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739"/>
              <a:endParaRPr lang="en-US" sz="135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69" name="Group 68"/>
          <p:cNvGrpSpPr/>
          <p:nvPr/>
        </p:nvGrpSpPr>
        <p:grpSpPr>
          <a:xfrm>
            <a:off x="1620580" y="2709893"/>
            <a:ext cx="2005959" cy="815828"/>
            <a:chOff x="1727201" y="2816225"/>
            <a:chExt cx="1752600" cy="712787"/>
          </a:xfrm>
        </p:grpSpPr>
        <p:sp>
          <p:nvSpPr>
            <p:cNvPr id="44" name="Freeform 22"/>
            <p:cNvSpPr>
              <a:spLocks/>
            </p:cNvSpPr>
            <p:nvPr/>
          </p:nvSpPr>
          <p:spPr bwMode="auto">
            <a:xfrm>
              <a:off x="1727201" y="2816225"/>
              <a:ext cx="1752600" cy="661987"/>
            </a:xfrm>
            <a:custGeom>
              <a:avLst/>
              <a:gdLst>
                <a:gd name="T0" fmla="*/ 144 w 1104"/>
                <a:gd name="T1" fmla="*/ 0 h 417"/>
                <a:gd name="T2" fmla="*/ 0 w 1104"/>
                <a:gd name="T3" fmla="*/ 260 h 417"/>
                <a:gd name="T4" fmla="*/ 552 w 1104"/>
                <a:gd name="T5" fmla="*/ 417 h 417"/>
                <a:gd name="T6" fmla="*/ 1104 w 1104"/>
                <a:gd name="T7" fmla="*/ 260 h 417"/>
                <a:gd name="T8" fmla="*/ 960 w 1104"/>
                <a:gd name="T9" fmla="*/ 0 h 417"/>
                <a:gd name="T10" fmla="*/ 552 w 1104"/>
                <a:gd name="T11" fmla="*/ 116 h 417"/>
                <a:gd name="T12" fmla="*/ 144 w 1104"/>
                <a:gd name="T13" fmla="*/ 0 h 4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04" h="417">
                  <a:moveTo>
                    <a:pt x="144" y="0"/>
                  </a:moveTo>
                  <a:lnTo>
                    <a:pt x="0" y="260"/>
                  </a:lnTo>
                  <a:lnTo>
                    <a:pt x="552" y="417"/>
                  </a:lnTo>
                  <a:lnTo>
                    <a:pt x="1104" y="260"/>
                  </a:lnTo>
                  <a:lnTo>
                    <a:pt x="960" y="0"/>
                  </a:lnTo>
                  <a:lnTo>
                    <a:pt x="552" y="116"/>
                  </a:lnTo>
                  <a:lnTo>
                    <a:pt x="144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739"/>
              <a:endParaRPr lang="en-US" sz="1350" dirty="0">
                <a:solidFill>
                  <a:srgbClr val="000000"/>
                </a:solidFill>
              </a:endParaRPr>
            </a:p>
          </p:txBody>
        </p:sp>
        <p:sp>
          <p:nvSpPr>
            <p:cNvPr id="49" name="Freeform 27"/>
            <p:cNvSpPr>
              <a:spLocks/>
            </p:cNvSpPr>
            <p:nvPr/>
          </p:nvSpPr>
          <p:spPr bwMode="auto">
            <a:xfrm>
              <a:off x="1727201" y="3228975"/>
              <a:ext cx="1752600" cy="300037"/>
            </a:xfrm>
            <a:custGeom>
              <a:avLst/>
              <a:gdLst>
                <a:gd name="T0" fmla="*/ 0 w 1104"/>
                <a:gd name="T1" fmla="*/ 0 h 189"/>
                <a:gd name="T2" fmla="*/ 0 w 1104"/>
                <a:gd name="T3" fmla="*/ 32 h 189"/>
                <a:gd name="T4" fmla="*/ 552 w 1104"/>
                <a:gd name="T5" fmla="*/ 189 h 189"/>
                <a:gd name="T6" fmla="*/ 1104 w 1104"/>
                <a:gd name="T7" fmla="*/ 32 h 189"/>
                <a:gd name="T8" fmla="*/ 1104 w 1104"/>
                <a:gd name="T9" fmla="*/ 0 h 189"/>
                <a:gd name="T10" fmla="*/ 552 w 1104"/>
                <a:gd name="T11" fmla="*/ 157 h 189"/>
                <a:gd name="T12" fmla="*/ 0 w 1104"/>
                <a:gd name="T13" fmla="*/ 0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04" h="189">
                  <a:moveTo>
                    <a:pt x="0" y="0"/>
                  </a:moveTo>
                  <a:lnTo>
                    <a:pt x="0" y="32"/>
                  </a:lnTo>
                  <a:lnTo>
                    <a:pt x="552" y="189"/>
                  </a:lnTo>
                  <a:lnTo>
                    <a:pt x="1104" y="32"/>
                  </a:lnTo>
                  <a:lnTo>
                    <a:pt x="1104" y="0"/>
                  </a:lnTo>
                  <a:lnTo>
                    <a:pt x="552" y="15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lumMod val="90000"/>
                <a:lumOff val="10000"/>
              </a:scheme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739"/>
              <a:endParaRPr lang="en-US" sz="1350" dirty="0">
                <a:solidFill>
                  <a:srgbClr val="000000"/>
                </a:solidFill>
              </a:endParaRPr>
            </a:p>
          </p:txBody>
        </p:sp>
        <p:sp>
          <p:nvSpPr>
            <p:cNvPr id="58" name="Freeform 36"/>
            <p:cNvSpPr>
              <a:spLocks/>
            </p:cNvSpPr>
            <p:nvPr/>
          </p:nvSpPr>
          <p:spPr bwMode="auto">
            <a:xfrm>
              <a:off x="2603501" y="2816225"/>
              <a:ext cx="876300" cy="661987"/>
            </a:xfrm>
            <a:custGeom>
              <a:avLst/>
              <a:gdLst>
                <a:gd name="T0" fmla="*/ 552 w 552"/>
                <a:gd name="T1" fmla="*/ 260 h 417"/>
                <a:gd name="T2" fmla="*/ 408 w 552"/>
                <a:gd name="T3" fmla="*/ 0 h 417"/>
                <a:gd name="T4" fmla="*/ 0 w 552"/>
                <a:gd name="T5" fmla="*/ 116 h 417"/>
                <a:gd name="T6" fmla="*/ 0 w 552"/>
                <a:gd name="T7" fmla="*/ 417 h 417"/>
                <a:gd name="T8" fmla="*/ 552 w 552"/>
                <a:gd name="T9" fmla="*/ 260 h 4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2" h="417">
                  <a:moveTo>
                    <a:pt x="552" y="260"/>
                  </a:moveTo>
                  <a:lnTo>
                    <a:pt x="408" y="0"/>
                  </a:lnTo>
                  <a:lnTo>
                    <a:pt x="0" y="116"/>
                  </a:lnTo>
                  <a:lnTo>
                    <a:pt x="0" y="417"/>
                  </a:lnTo>
                  <a:lnTo>
                    <a:pt x="552" y="26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739"/>
              <a:endParaRPr lang="en-US" sz="135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68" name="Group 67"/>
          <p:cNvGrpSpPr/>
          <p:nvPr/>
        </p:nvGrpSpPr>
        <p:grpSpPr>
          <a:xfrm>
            <a:off x="1882228" y="2182964"/>
            <a:ext cx="1482666" cy="737699"/>
            <a:chOff x="1955801" y="2355850"/>
            <a:chExt cx="1295400" cy="644525"/>
          </a:xfrm>
        </p:grpSpPr>
        <p:sp>
          <p:nvSpPr>
            <p:cNvPr id="45" name="Freeform 23"/>
            <p:cNvSpPr>
              <a:spLocks/>
            </p:cNvSpPr>
            <p:nvPr/>
          </p:nvSpPr>
          <p:spPr bwMode="auto">
            <a:xfrm>
              <a:off x="1955801" y="2355850"/>
              <a:ext cx="1295400" cy="593725"/>
            </a:xfrm>
            <a:custGeom>
              <a:avLst/>
              <a:gdLst>
                <a:gd name="T0" fmla="*/ 408 w 816"/>
                <a:gd name="T1" fmla="*/ 76 h 374"/>
                <a:gd name="T2" fmla="*/ 143 w 816"/>
                <a:gd name="T3" fmla="*/ 0 h 374"/>
                <a:gd name="T4" fmla="*/ 0 w 816"/>
                <a:gd name="T5" fmla="*/ 258 h 374"/>
                <a:gd name="T6" fmla="*/ 408 w 816"/>
                <a:gd name="T7" fmla="*/ 374 h 374"/>
                <a:gd name="T8" fmla="*/ 816 w 816"/>
                <a:gd name="T9" fmla="*/ 258 h 374"/>
                <a:gd name="T10" fmla="*/ 673 w 816"/>
                <a:gd name="T11" fmla="*/ 0 h 374"/>
                <a:gd name="T12" fmla="*/ 408 w 816"/>
                <a:gd name="T13" fmla="*/ 76 h 3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16" h="374">
                  <a:moveTo>
                    <a:pt x="408" y="76"/>
                  </a:moveTo>
                  <a:lnTo>
                    <a:pt x="143" y="0"/>
                  </a:lnTo>
                  <a:lnTo>
                    <a:pt x="0" y="258"/>
                  </a:lnTo>
                  <a:lnTo>
                    <a:pt x="408" y="374"/>
                  </a:lnTo>
                  <a:lnTo>
                    <a:pt x="816" y="258"/>
                  </a:lnTo>
                  <a:lnTo>
                    <a:pt x="673" y="0"/>
                  </a:lnTo>
                  <a:lnTo>
                    <a:pt x="408" y="76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739"/>
              <a:endParaRPr lang="en-US" sz="1350" dirty="0">
                <a:solidFill>
                  <a:srgbClr val="000000"/>
                </a:solidFill>
              </a:endParaRPr>
            </a:p>
          </p:txBody>
        </p:sp>
        <p:sp>
          <p:nvSpPr>
            <p:cNvPr id="48" name="Freeform 26"/>
            <p:cNvSpPr>
              <a:spLocks/>
            </p:cNvSpPr>
            <p:nvPr/>
          </p:nvSpPr>
          <p:spPr bwMode="auto">
            <a:xfrm>
              <a:off x="1955801" y="2765425"/>
              <a:ext cx="1295400" cy="234950"/>
            </a:xfrm>
            <a:custGeom>
              <a:avLst/>
              <a:gdLst>
                <a:gd name="T0" fmla="*/ 0 w 816"/>
                <a:gd name="T1" fmla="*/ 0 h 148"/>
                <a:gd name="T2" fmla="*/ 0 w 816"/>
                <a:gd name="T3" fmla="*/ 32 h 148"/>
                <a:gd name="T4" fmla="*/ 408 w 816"/>
                <a:gd name="T5" fmla="*/ 148 h 148"/>
                <a:gd name="T6" fmla="*/ 816 w 816"/>
                <a:gd name="T7" fmla="*/ 32 h 148"/>
                <a:gd name="T8" fmla="*/ 816 w 816"/>
                <a:gd name="T9" fmla="*/ 0 h 148"/>
                <a:gd name="T10" fmla="*/ 408 w 816"/>
                <a:gd name="T11" fmla="*/ 116 h 148"/>
                <a:gd name="T12" fmla="*/ 0 w 816"/>
                <a:gd name="T13" fmla="*/ 0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16" h="148">
                  <a:moveTo>
                    <a:pt x="0" y="0"/>
                  </a:moveTo>
                  <a:lnTo>
                    <a:pt x="0" y="32"/>
                  </a:lnTo>
                  <a:lnTo>
                    <a:pt x="408" y="148"/>
                  </a:lnTo>
                  <a:lnTo>
                    <a:pt x="816" y="32"/>
                  </a:lnTo>
                  <a:lnTo>
                    <a:pt x="816" y="0"/>
                  </a:lnTo>
                  <a:lnTo>
                    <a:pt x="408" y="11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lumMod val="90000"/>
                <a:lumOff val="10000"/>
              </a:scheme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739"/>
              <a:endParaRPr lang="en-US" sz="1350" dirty="0">
                <a:solidFill>
                  <a:srgbClr val="000000"/>
                </a:solidFill>
              </a:endParaRPr>
            </a:p>
          </p:txBody>
        </p:sp>
        <p:sp>
          <p:nvSpPr>
            <p:cNvPr id="59" name="Freeform 37"/>
            <p:cNvSpPr>
              <a:spLocks/>
            </p:cNvSpPr>
            <p:nvPr/>
          </p:nvSpPr>
          <p:spPr bwMode="auto">
            <a:xfrm>
              <a:off x="2603501" y="2355850"/>
              <a:ext cx="647700" cy="593725"/>
            </a:xfrm>
            <a:custGeom>
              <a:avLst/>
              <a:gdLst>
                <a:gd name="T0" fmla="*/ 408 w 408"/>
                <a:gd name="T1" fmla="*/ 258 h 374"/>
                <a:gd name="T2" fmla="*/ 265 w 408"/>
                <a:gd name="T3" fmla="*/ 0 h 374"/>
                <a:gd name="T4" fmla="*/ 0 w 408"/>
                <a:gd name="T5" fmla="*/ 76 h 374"/>
                <a:gd name="T6" fmla="*/ 0 w 408"/>
                <a:gd name="T7" fmla="*/ 374 h 374"/>
                <a:gd name="T8" fmla="*/ 408 w 408"/>
                <a:gd name="T9" fmla="*/ 258 h 3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8" h="374">
                  <a:moveTo>
                    <a:pt x="408" y="258"/>
                  </a:moveTo>
                  <a:lnTo>
                    <a:pt x="265" y="0"/>
                  </a:lnTo>
                  <a:lnTo>
                    <a:pt x="0" y="76"/>
                  </a:lnTo>
                  <a:lnTo>
                    <a:pt x="0" y="374"/>
                  </a:lnTo>
                  <a:lnTo>
                    <a:pt x="408" y="258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739"/>
              <a:endParaRPr lang="en-US" sz="135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67" name="Group 66"/>
          <p:cNvGrpSpPr/>
          <p:nvPr/>
        </p:nvGrpSpPr>
        <p:grpSpPr>
          <a:xfrm>
            <a:off x="2142058" y="1252667"/>
            <a:ext cx="963006" cy="1068390"/>
            <a:chOff x="2182813" y="1543051"/>
            <a:chExt cx="841376" cy="933449"/>
          </a:xfrm>
        </p:grpSpPr>
        <p:sp>
          <p:nvSpPr>
            <p:cNvPr id="46" name="Freeform 24"/>
            <p:cNvSpPr>
              <a:spLocks/>
            </p:cNvSpPr>
            <p:nvPr/>
          </p:nvSpPr>
          <p:spPr bwMode="auto">
            <a:xfrm>
              <a:off x="2182813" y="1543051"/>
              <a:ext cx="841375" cy="882650"/>
            </a:xfrm>
            <a:custGeom>
              <a:avLst/>
              <a:gdLst>
                <a:gd name="T0" fmla="*/ 530 w 530"/>
                <a:gd name="T1" fmla="*/ 480 h 556"/>
                <a:gd name="T2" fmla="*/ 265 w 530"/>
                <a:gd name="T3" fmla="*/ 0 h 556"/>
                <a:gd name="T4" fmla="*/ 0 w 530"/>
                <a:gd name="T5" fmla="*/ 480 h 556"/>
                <a:gd name="T6" fmla="*/ 265 w 530"/>
                <a:gd name="T7" fmla="*/ 556 h 556"/>
                <a:gd name="T8" fmla="*/ 530 w 530"/>
                <a:gd name="T9" fmla="*/ 480 h 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0" h="556">
                  <a:moveTo>
                    <a:pt x="530" y="480"/>
                  </a:moveTo>
                  <a:lnTo>
                    <a:pt x="265" y="0"/>
                  </a:lnTo>
                  <a:lnTo>
                    <a:pt x="0" y="480"/>
                  </a:lnTo>
                  <a:lnTo>
                    <a:pt x="265" y="556"/>
                  </a:lnTo>
                  <a:lnTo>
                    <a:pt x="530" y="48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739"/>
              <a:endParaRPr lang="en-US" sz="1350" dirty="0">
                <a:solidFill>
                  <a:srgbClr val="000000"/>
                </a:solidFill>
              </a:endParaRPr>
            </a:p>
          </p:txBody>
        </p:sp>
        <p:sp>
          <p:nvSpPr>
            <p:cNvPr id="47" name="Freeform 25"/>
            <p:cNvSpPr>
              <a:spLocks/>
            </p:cNvSpPr>
            <p:nvPr/>
          </p:nvSpPr>
          <p:spPr bwMode="auto">
            <a:xfrm>
              <a:off x="2182813" y="2305050"/>
              <a:ext cx="841375" cy="171450"/>
            </a:xfrm>
            <a:custGeom>
              <a:avLst/>
              <a:gdLst>
                <a:gd name="T0" fmla="*/ 0 w 530"/>
                <a:gd name="T1" fmla="*/ 0 h 108"/>
                <a:gd name="T2" fmla="*/ 0 w 530"/>
                <a:gd name="T3" fmla="*/ 32 h 108"/>
                <a:gd name="T4" fmla="*/ 265 w 530"/>
                <a:gd name="T5" fmla="*/ 108 h 108"/>
                <a:gd name="T6" fmla="*/ 530 w 530"/>
                <a:gd name="T7" fmla="*/ 32 h 108"/>
                <a:gd name="T8" fmla="*/ 530 w 530"/>
                <a:gd name="T9" fmla="*/ 0 h 108"/>
                <a:gd name="T10" fmla="*/ 265 w 530"/>
                <a:gd name="T11" fmla="*/ 76 h 108"/>
                <a:gd name="T12" fmla="*/ 0 w 530"/>
                <a:gd name="T13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30" h="108">
                  <a:moveTo>
                    <a:pt x="0" y="0"/>
                  </a:moveTo>
                  <a:lnTo>
                    <a:pt x="0" y="32"/>
                  </a:lnTo>
                  <a:lnTo>
                    <a:pt x="265" y="108"/>
                  </a:lnTo>
                  <a:lnTo>
                    <a:pt x="530" y="32"/>
                  </a:lnTo>
                  <a:lnTo>
                    <a:pt x="530" y="0"/>
                  </a:lnTo>
                  <a:lnTo>
                    <a:pt x="265" y="7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lumMod val="90000"/>
                <a:lumOff val="10000"/>
              </a:scheme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739"/>
              <a:endParaRPr lang="en-US" sz="1350" dirty="0">
                <a:solidFill>
                  <a:srgbClr val="000000"/>
                </a:solidFill>
              </a:endParaRPr>
            </a:p>
          </p:txBody>
        </p:sp>
        <p:sp>
          <p:nvSpPr>
            <p:cNvPr id="60" name="Freeform 38"/>
            <p:cNvSpPr>
              <a:spLocks/>
            </p:cNvSpPr>
            <p:nvPr/>
          </p:nvSpPr>
          <p:spPr bwMode="auto">
            <a:xfrm>
              <a:off x="2603501" y="1543051"/>
              <a:ext cx="420688" cy="882650"/>
            </a:xfrm>
            <a:custGeom>
              <a:avLst/>
              <a:gdLst>
                <a:gd name="T0" fmla="*/ 265 w 265"/>
                <a:gd name="T1" fmla="*/ 480 h 556"/>
                <a:gd name="T2" fmla="*/ 0 w 265"/>
                <a:gd name="T3" fmla="*/ 0 h 556"/>
                <a:gd name="T4" fmla="*/ 0 w 265"/>
                <a:gd name="T5" fmla="*/ 556 h 556"/>
                <a:gd name="T6" fmla="*/ 265 w 265"/>
                <a:gd name="T7" fmla="*/ 480 h 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5" h="556">
                  <a:moveTo>
                    <a:pt x="265" y="480"/>
                  </a:moveTo>
                  <a:lnTo>
                    <a:pt x="0" y="0"/>
                  </a:lnTo>
                  <a:lnTo>
                    <a:pt x="0" y="556"/>
                  </a:lnTo>
                  <a:lnTo>
                    <a:pt x="265" y="48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739"/>
              <a:endParaRPr lang="en-US" sz="1350" dirty="0">
                <a:solidFill>
                  <a:srgbClr val="000000"/>
                </a:solidFill>
              </a:endParaRPr>
            </a:p>
          </p:txBody>
        </p:sp>
      </p:grpSp>
      <p:sp>
        <p:nvSpPr>
          <p:cNvPr id="61" name="Rectangle 60"/>
          <p:cNvSpPr/>
          <p:nvPr/>
        </p:nvSpPr>
        <p:spPr>
          <a:xfrm>
            <a:off x="484893" y="3896917"/>
            <a:ext cx="590591" cy="16158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 defTabSz="685739"/>
            <a:r>
              <a:rPr lang="en-US" sz="1050" b="1" dirty="0">
                <a:solidFill>
                  <a:srgbClr val="FFFFFF"/>
                </a:solidFill>
              </a:rPr>
              <a:t>01</a:t>
            </a:r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77" name="Rectangle 76"/>
          <p:cNvSpPr/>
          <p:nvPr/>
        </p:nvSpPr>
        <p:spPr>
          <a:xfrm>
            <a:off x="804683" y="3300943"/>
            <a:ext cx="590591" cy="16158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 defTabSz="685739"/>
            <a:r>
              <a:rPr lang="ar-SA" sz="1050" b="1" dirty="0">
                <a:solidFill>
                  <a:srgbClr val="FFFFFF"/>
                </a:solidFill>
              </a:rPr>
              <a:t>02</a:t>
            </a:r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78" name="Rectangle 77"/>
          <p:cNvSpPr/>
          <p:nvPr/>
        </p:nvSpPr>
        <p:spPr>
          <a:xfrm>
            <a:off x="1131741" y="2697702"/>
            <a:ext cx="590591" cy="16158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 defTabSz="685739"/>
            <a:r>
              <a:rPr lang="ar-SA" sz="1050" b="1" dirty="0">
                <a:solidFill>
                  <a:srgbClr val="FFFFFF"/>
                </a:solidFill>
              </a:rPr>
              <a:t>03</a:t>
            </a:r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79" name="Rectangle 78"/>
          <p:cNvSpPr/>
          <p:nvPr/>
        </p:nvSpPr>
        <p:spPr>
          <a:xfrm>
            <a:off x="1458800" y="2065389"/>
            <a:ext cx="590591" cy="16158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 defTabSz="685739"/>
            <a:r>
              <a:rPr lang="ar-SA" sz="1050" b="1" dirty="0">
                <a:solidFill>
                  <a:srgbClr val="FFFFFF"/>
                </a:solidFill>
              </a:rPr>
              <a:t>04</a:t>
            </a:r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85" name="Rectangle 84"/>
          <p:cNvSpPr/>
          <p:nvPr/>
        </p:nvSpPr>
        <p:spPr>
          <a:xfrm>
            <a:off x="1793127" y="1447612"/>
            <a:ext cx="590591" cy="16158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 defTabSz="685739"/>
            <a:r>
              <a:rPr lang="ar-SA" sz="1050" b="1" dirty="0">
                <a:solidFill>
                  <a:srgbClr val="FFFFFF"/>
                </a:solidFill>
              </a:rPr>
              <a:t>05</a:t>
            </a:r>
            <a:endParaRPr lang="en-US" sz="900" dirty="0">
              <a:solidFill>
                <a:srgbClr val="000000"/>
              </a:solidFill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CE3DCD8-CAF9-C840-9052-1554AEBBBD1F}"/>
              </a:ext>
            </a:extLst>
          </p:cNvPr>
          <p:cNvGrpSpPr/>
          <p:nvPr/>
        </p:nvGrpSpPr>
        <p:grpSpPr>
          <a:xfrm>
            <a:off x="5243086" y="3700108"/>
            <a:ext cx="557023" cy="557023"/>
            <a:chOff x="888347" y="1187607"/>
            <a:chExt cx="3304685" cy="1574800"/>
          </a:xfrm>
        </p:grpSpPr>
        <p:sp>
          <p:nvSpPr>
            <p:cNvPr id="13" name="Rounded Rectangle 4">
              <a:extLst>
                <a:ext uri="{FF2B5EF4-FFF2-40B4-BE49-F238E27FC236}">
                  <a16:creationId xmlns:a16="http://schemas.microsoft.com/office/drawing/2014/main" id="{0C8CF80E-B9CF-876D-843D-A86F40D51C78}"/>
                </a:ext>
              </a:extLst>
            </p:cNvPr>
            <p:cNvSpPr/>
            <p:nvPr/>
          </p:nvSpPr>
          <p:spPr>
            <a:xfrm>
              <a:off x="888347" y="1187607"/>
              <a:ext cx="3304685" cy="15748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 defTabSz="685739"/>
              <a:endParaRPr lang="en-US" sz="750" dirty="0">
                <a:solidFill>
                  <a:srgbClr val="FFFFFF"/>
                </a:solidFill>
              </a:endParaRPr>
            </a:p>
          </p:txBody>
        </p:sp>
        <p:sp>
          <p:nvSpPr>
            <p:cNvPr id="14" name="Rounded Rectangle 4">
              <a:extLst>
                <a:ext uri="{FF2B5EF4-FFF2-40B4-BE49-F238E27FC236}">
                  <a16:creationId xmlns:a16="http://schemas.microsoft.com/office/drawing/2014/main" id="{71F4B652-C731-6E4D-209D-81C20BC8E956}"/>
                </a:ext>
              </a:extLst>
            </p:cNvPr>
            <p:cNvSpPr/>
            <p:nvPr/>
          </p:nvSpPr>
          <p:spPr>
            <a:xfrm>
              <a:off x="888347" y="1187607"/>
              <a:ext cx="3304685" cy="1574800"/>
            </a:xfrm>
            <a:prstGeom prst="ellipse">
              <a:avLst/>
            </a:prstGeom>
            <a:gradFill flip="none" rotWithShape="1">
              <a:gsLst>
                <a:gs pos="0">
                  <a:schemeClr val="bg1">
                    <a:lumMod val="85000"/>
                  </a:schemeClr>
                </a:gs>
                <a:gs pos="50000">
                  <a:schemeClr val="bg1">
                    <a:lumMod val="95000"/>
                    <a:alpha val="50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 defTabSz="685739"/>
              <a:endParaRPr lang="en-US" sz="750" dirty="0">
                <a:solidFill>
                  <a:srgbClr val="000000">
                    <a:lumMod val="75000"/>
                    <a:lumOff val="25000"/>
                  </a:srgbClr>
                </a:solidFill>
              </a:endParaRP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AE20DC5F-5702-340D-A1CA-DD7748CC2EC2}"/>
              </a:ext>
            </a:extLst>
          </p:cNvPr>
          <p:cNvGrpSpPr/>
          <p:nvPr/>
        </p:nvGrpSpPr>
        <p:grpSpPr>
          <a:xfrm>
            <a:off x="5124837" y="3090040"/>
            <a:ext cx="557023" cy="557023"/>
            <a:chOff x="888347" y="1187607"/>
            <a:chExt cx="3304685" cy="1574800"/>
          </a:xfrm>
        </p:grpSpPr>
        <p:sp>
          <p:nvSpPr>
            <p:cNvPr id="16" name="Rounded Rectangle 4">
              <a:extLst>
                <a:ext uri="{FF2B5EF4-FFF2-40B4-BE49-F238E27FC236}">
                  <a16:creationId xmlns:a16="http://schemas.microsoft.com/office/drawing/2014/main" id="{B95E759B-257B-1CBB-F11F-3344160FFF95}"/>
                </a:ext>
              </a:extLst>
            </p:cNvPr>
            <p:cNvSpPr/>
            <p:nvPr/>
          </p:nvSpPr>
          <p:spPr>
            <a:xfrm>
              <a:off x="888347" y="1187607"/>
              <a:ext cx="3304685" cy="15748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 defTabSz="685739"/>
              <a:endParaRPr lang="en-US" sz="750" dirty="0">
                <a:solidFill>
                  <a:srgbClr val="FFFFFF"/>
                </a:solidFill>
              </a:endParaRPr>
            </a:p>
          </p:txBody>
        </p:sp>
        <p:sp>
          <p:nvSpPr>
            <p:cNvPr id="17" name="Rounded Rectangle 4">
              <a:extLst>
                <a:ext uri="{FF2B5EF4-FFF2-40B4-BE49-F238E27FC236}">
                  <a16:creationId xmlns:a16="http://schemas.microsoft.com/office/drawing/2014/main" id="{ACB3BBB3-0906-BD27-61AE-45B2E2D8B698}"/>
                </a:ext>
              </a:extLst>
            </p:cNvPr>
            <p:cNvSpPr/>
            <p:nvPr/>
          </p:nvSpPr>
          <p:spPr>
            <a:xfrm>
              <a:off x="888347" y="1187607"/>
              <a:ext cx="3304685" cy="1574800"/>
            </a:xfrm>
            <a:prstGeom prst="ellipse">
              <a:avLst/>
            </a:prstGeom>
            <a:gradFill flip="none" rotWithShape="1">
              <a:gsLst>
                <a:gs pos="0">
                  <a:schemeClr val="bg1">
                    <a:lumMod val="85000"/>
                  </a:schemeClr>
                </a:gs>
                <a:gs pos="50000">
                  <a:schemeClr val="bg1">
                    <a:lumMod val="95000"/>
                    <a:alpha val="50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 defTabSz="685739"/>
              <a:endParaRPr lang="en-US" sz="750" dirty="0">
                <a:solidFill>
                  <a:srgbClr val="000000">
                    <a:lumMod val="75000"/>
                    <a:lumOff val="25000"/>
                  </a:srgbClr>
                </a:solidFill>
              </a:endParaRP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E556B567-1356-168F-585D-0FBCB9B812F2}"/>
              </a:ext>
            </a:extLst>
          </p:cNvPr>
          <p:cNvGrpSpPr/>
          <p:nvPr/>
        </p:nvGrpSpPr>
        <p:grpSpPr>
          <a:xfrm>
            <a:off x="5007521" y="2479531"/>
            <a:ext cx="557023" cy="557023"/>
            <a:chOff x="888347" y="1187607"/>
            <a:chExt cx="3304685" cy="1574800"/>
          </a:xfrm>
        </p:grpSpPr>
        <p:sp>
          <p:nvSpPr>
            <p:cNvPr id="19" name="Rounded Rectangle 4">
              <a:extLst>
                <a:ext uri="{FF2B5EF4-FFF2-40B4-BE49-F238E27FC236}">
                  <a16:creationId xmlns:a16="http://schemas.microsoft.com/office/drawing/2014/main" id="{182DD63A-5B0D-B8A6-AE85-0077BBB22910}"/>
                </a:ext>
              </a:extLst>
            </p:cNvPr>
            <p:cNvSpPr/>
            <p:nvPr/>
          </p:nvSpPr>
          <p:spPr>
            <a:xfrm>
              <a:off x="888347" y="1187607"/>
              <a:ext cx="3304685" cy="15748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 defTabSz="685739"/>
              <a:endParaRPr lang="en-US" sz="750" dirty="0">
                <a:solidFill>
                  <a:srgbClr val="FFFFFF"/>
                </a:solidFill>
              </a:endParaRPr>
            </a:p>
          </p:txBody>
        </p:sp>
        <p:sp>
          <p:nvSpPr>
            <p:cNvPr id="20" name="Rounded Rectangle 4">
              <a:extLst>
                <a:ext uri="{FF2B5EF4-FFF2-40B4-BE49-F238E27FC236}">
                  <a16:creationId xmlns:a16="http://schemas.microsoft.com/office/drawing/2014/main" id="{A3F0E1D3-66F4-B918-5577-970926612143}"/>
                </a:ext>
              </a:extLst>
            </p:cNvPr>
            <p:cNvSpPr/>
            <p:nvPr/>
          </p:nvSpPr>
          <p:spPr>
            <a:xfrm>
              <a:off x="888347" y="1187607"/>
              <a:ext cx="3304685" cy="1574800"/>
            </a:xfrm>
            <a:prstGeom prst="ellipse">
              <a:avLst/>
            </a:prstGeom>
            <a:gradFill flip="none" rotWithShape="1">
              <a:gsLst>
                <a:gs pos="0">
                  <a:schemeClr val="bg1">
                    <a:lumMod val="85000"/>
                  </a:schemeClr>
                </a:gs>
                <a:gs pos="50000">
                  <a:schemeClr val="bg1">
                    <a:lumMod val="95000"/>
                    <a:alpha val="50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 defTabSz="685739"/>
              <a:endParaRPr lang="en-US" sz="750" dirty="0">
                <a:solidFill>
                  <a:srgbClr val="000000">
                    <a:lumMod val="75000"/>
                    <a:lumOff val="25000"/>
                  </a:srgbClr>
                </a:solidFill>
              </a:endParaRP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3427B914-7064-F74D-80F5-FD648F59DC2B}"/>
              </a:ext>
            </a:extLst>
          </p:cNvPr>
          <p:cNvGrpSpPr/>
          <p:nvPr/>
        </p:nvGrpSpPr>
        <p:grpSpPr>
          <a:xfrm>
            <a:off x="4890648" y="1866295"/>
            <a:ext cx="557023" cy="557023"/>
            <a:chOff x="888347" y="1187607"/>
            <a:chExt cx="3304685" cy="1574800"/>
          </a:xfrm>
        </p:grpSpPr>
        <p:sp>
          <p:nvSpPr>
            <p:cNvPr id="22" name="Rounded Rectangle 4">
              <a:extLst>
                <a:ext uri="{FF2B5EF4-FFF2-40B4-BE49-F238E27FC236}">
                  <a16:creationId xmlns:a16="http://schemas.microsoft.com/office/drawing/2014/main" id="{4E0E3A14-597B-67B5-F323-48A560877EAE}"/>
                </a:ext>
              </a:extLst>
            </p:cNvPr>
            <p:cNvSpPr/>
            <p:nvPr/>
          </p:nvSpPr>
          <p:spPr>
            <a:xfrm>
              <a:off x="888347" y="1187607"/>
              <a:ext cx="3304685" cy="15748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 defTabSz="685739"/>
              <a:endParaRPr lang="en-US" sz="750" dirty="0">
                <a:solidFill>
                  <a:srgbClr val="FFFFFF"/>
                </a:solidFill>
              </a:endParaRPr>
            </a:p>
          </p:txBody>
        </p:sp>
        <p:sp>
          <p:nvSpPr>
            <p:cNvPr id="23" name="Rounded Rectangle 4">
              <a:extLst>
                <a:ext uri="{FF2B5EF4-FFF2-40B4-BE49-F238E27FC236}">
                  <a16:creationId xmlns:a16="http://schemas.microsoft.com/office/drawing/2014/main" id="{019A36B5-7C8C-671E-D8C7-0B5F94E3EE23}"/>
                </a:ext>
              </a:extLst>
            </p:cNvPr>
            <p:cNvSpPr/>
            <p:nvPr/>
          </p:nvSpPr>
          <p:spPr>
            <a:xfrm>
              <a:off x="888347" y="1187607"/>
              <a:ext cx="3304685" cy="1574800"/>
            </a:xfrm>
            <a:prstGeom prst="ellipse">
              <a:avLst/>
            </a:prstGeom>
            <a:gradFill flip="none" rotWithShape="1">
              <a:gsLst>
                <a:gs pos="0">
                  <a:schemeClr val="bg1">
                    <a:lumMod val="85000"/>
                  </a:schemeClr>
                </a:gs>
                <a:gs pos="50000">
                  <a:schemeClr val="bg1">
                    <a:lumMod val="95000"/>
                    <a:alpha val="50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 defTabSz="685739"/>
              <a:endParaRPr lang="en-US" sz="750" dirty="0">
                <a:solidFill>
                  <a:srgbClr val="000000">
                    <a:lumMod val="75000"/>
                    <a:lumOff val="25000"/>
                  </a:srgbClr>
                </a:solidFill>
              </a:endParaRP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B144F659-A39E-C177-E519-650AA4947D1E}"/>
              </a:ext>
            </a:extLst>
          </p:cNvPr>
          <p:cNvGrpSpPr/>
          <p:nvPr/>
        </p:nvGrpSpPr>
        <p:grpSpPr>
          <a:xfrm>
            <a:off x="4773030" y="1252282"/>
            <a:ext cx="557023" cy="557023"/>
            <a:chOff x="888347" y="1187607"/>
            <a:chExt cx="3304685" cy="1574800"/>
          </a:xfrm>
        </p:grpSpPr>
        <p:sp>
          <p:nvSpPr>
            <p:cNvPr id="10" name="Rounded Rectangle 4">
              <a:extLst>
                <a:ext uri="{FF2B5EF4-FFF2-40B4-BE49-F238E27FC236}">
                  <a16:creationId xmlns:a16="http://schemas.microsoft.com/office/drawing/2014/main" id="{497DEBBA-575E-7641-4982-FAC8AA8ADEDC}"/>
                </a:ext>
              </a:extLst>
            </p:cNvPr>
            <p:cNvSpPr/>
            <p:nvPr/>
          </p:nvSpPr>
          <p:spPr>
            <a:xfrm>
              <a:off x="888347" y="1187607"/>
              <a:ext cx="3304685" cy="15748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 defTabSz="685739"/>
              <a:endParaRPr lang="en-US" sz="750" dirty="0">
                <a:solidFill>
                  <a:srgbClr val="FFFFFF"/>
                </a:solidFill>
              </a:endParaRPr>
            </a:p>
          </p:txBody>
        </p:sp>
        <p:sp>
          <p:nvSpPr>
            <p:cNvPr id="11" name="Rounded Rectangle 4">
              <a:extLst>
                <a:ext uri="{FF2B5EF4-FFF2-40B4-BE49-F238E27FC236}">
                  <a16:creationId xmlns:a16="http://schemas.microsoft.com/office/drawing/2014/main" id="{93705853-E359-1A40-51C5-182B9593F9EC}"/>
                </a:ext>
              </a:extLst>
            </p:cNvPr>
            <p:cNvSpPr/>
            <p:nvPr/>
          </p:nvSpPr>
          <p:spPr>
            <a:xfrm>
              <a:off x="888347" y="1187607"/>
              <a:ext cx="3304685" cy="1574800"/>
            </a:xfrm>
            <a:prstGeom prst="ellipse">
              <a:avLst/>
            </a:prstGeom>
            <a:gradFill flip="none" rotWithShape="1">
              <a:gsLst>
                <a:gs pos="0">
                  <a:schemeClr val="bg1">
                    <a:lumMod val="85000"/>
                  </a:schemeClr>
                </a:gs>
                <a:gs pos="50000">
                  <a:schemeClr val="bg1">
                    <a:lumMod val="95000"/>
                    <a:alpha val="50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 defTabSz="685739"/>
              <a:endParaRPr lang="en-US" sz="750" dirty="0">
                <a:solidFill>
                  <a:srgbClr val="000000">
                    <a:lumMod val="75000"/>
                    <a:lumOff val="25000"/>
                  </a:srgbClr>
                </a:solidFill>
              </a:endParaRPr>
            </a:p>
          </p:txBody>
        </p:sp>
      </p:grpSp>
      <p:sp>
        <p:nvSpPr>
          <p:cNvPr id="24" name="Rectangle 23">
            <a:extLst>
              <a:ext uri="{FF2B5EF4-FFF2-40B4-BE49-F238E27FC236}">
                <a16:creationId xmlns:a16="http://schemas.microsoft.com/office/drawing/2014/main" id="{9FC60003-15E0-9B8D-90CD-0A29D73730FD}"/>
              </a:ext>
            </a:extLst>
          </p:cNvPr>
          <p:cNvSpPr/>
          <p:nvPr/>
        </p:nvSpPr>
        <p:spPr>
          <a:xfrm>
            <a:off x="3153609" y="1463232"/>
            <a:ext cx="1237936" cy="138499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 defTabSz="685739"/>
            <a:r>
              <a:rPr lang="en-US" sz="900" b="1" dirty="0">
                <a:solidFill>
                  <a:srgbClr val="FFFFFF"/>
                </a:solidFill>
              </a:rPr>
              <a:t>Heading 5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F827FFF2-2FF2-5C20-98A8-3F084F240D04}"/>
              </a:ext>
            </a:extLst>
          </p:cNvPr>
          <p:cNvSpPr/>
          <p:nvPr/>
        </p:nvSpPr>
        <p:spPr>
          <a:xfrm>
            <a:off x="3313349" y="2076466"/>
            <a:ext cx="1237936" cy="138499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 defTabSz="685739"/>
            <a:r>
              <a:rPr lang="en-US" sz="900" b="1" dirty="0">
                <a:solidFill>
                  <a:srgbClr val="FFFFFF"/>
                </a:solidFill>
              </a:rPr>
              <a:t>Heading 4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17C51DD0-971C-813D-069F-5048D87A328C}"/>
              </a:ext>
            </a:extLst>
          </p:cNvPr>
          <p:cNvSpPr/>
          <p:nvPr/>
        </p:nvSpPr>
        <p:spPr>
          <a:xfrm>
            <a:off x="3629602" y="2688793"/>
            <a:ext cx="1237936" cy="138499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 defTabSz="685739"/>
            <a:r>
              <a:rPr lang="en-US" sz="900" b="1" dirty="0">
                <a:solidFill>
                  <a:srgbClr val="FFFFFF"/>
                </a:solidFill>
              </a:rPr>
              <a:t>Heading 3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FDE3F874-18F8-46D8-A8C9-5EA5CCF9B848}"/>
              </a:ext>
            </a:extLst>
          </p:cNvPr>
          <p:cNvSpPr/>
          <p:nvPr/>
        </p:nvSpPr>
        <p:spPr>
          <a:xfrm>
            <a:off x="3830602" y="3300211"/>
            <a:ext cx="1237936" cy="138499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 defTabSz="685739"/>
            <a:r>
              <a:rPr lang="en-US" sz="900" b="1" dirty="0">
                <a:solidFill>
                  <a:srgbClr val="FFFFFF"/>
                </a:solidFill>
              </a:rPr>
              <a:t>Heading 2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C8D5CBB9-8F87-368B-4353-CACE4D53E437}"/>
              </a:ext>
            </a:extLst>
          </p:cNvPr>
          <p:cNvSpPr/>
          <p:nvPr/>
        </p:nvSpPr>
        <p:spPr>
          <a:xfrm>
            <a:off x="4074015" y="3908462"/>
            <a:ext cx="1237936" cy="138499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 defTabSz="685739"/>
            <a:r>
              <a:rPr lang="en-US" sz="900" b="1" dirty="0">
                <a:solidFill>
                  <a:srgbClr val="FFFFFF"/>
                </a:solidFill>
              </a:rPr>
              <a:t>Heading 1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A9C31B1E-0CD3-47F8-3C21-7083DD962B7F}"/>
              </a:ext>
            </a:extLst>
          </p:cNvPr>
          <p:cNvSpPr/>
          <p:nvPr/>
        </p:nvSpPr>
        <p:spPr>
          <a:xfrm flipH="1">
            <a:off x="5569277" y="1966581"/>
            <a:ext cx="2793097" cy="352341"/>
          </a:xfrm>
          <a:prstGeom prst="rect">
            <a:avLst/>
          </a:prstGeom>
          <a:ln>
            <a:noFill/>
          </a:ln>
        </p:spPr>
        <p:txBody>
          <a:bodyPr wrap="square" lIns="0" tIns="0" rIns="0" bIns="0" anchor="ctr">
            <a:spAutoFit/>
          </a:bodyPr>
          <a:lstStyle/>
          <a:p>
            <a:pPr defTabSz="685739">
              <a:lnSpc>
                <a:spcPct val="120000"/>
              </a:lnSpc>
            </a:pPr>
            <a:r>
              <a:rPr lang="en-US" sz="1000" dirty="0"/>
              <a:t>4Lorem ipsum dolor sit amet, consectetur adipiscing elit, sed do eiusmod tempor 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CBB00618-E8BC-9306-BFD1-05E90F799710}"/>
              </a:ext>
            </a:extLst>
          </p:cNvPr>
          <p:cNvSpPr/>
          <p:nvPr/>
        </p:nvSpPr>
        <p:spPr>
          <a:xfrm>
            <a:off x="5451761" y="1446959"/>
            <a:ext cx="2793099" cy="167675"/>
          </a:xfrm>
          <a:prstGeom prst="rect">
            <a:avLst/>
          </a:prstGeom>
          <a:ln>
            <a:noFill/>
          </a:ln>
        </p:spPr>
        <p:txBody>
          <a:bodyPr wrap="square" lIns="0" tIns="0" rIns="0" bIns="0" anchor="ctr">
            <a:spAutoFit/>
          </a:bodyPr>
          <a:lstStyle/>
          <a:p>
            <a:pPr defTabSz="685739">
              <a:lnSpc>
                <a:spcPct val="120000"/>
              </a:lnSpc>
            </a:pPr>
            <a:r>
              <a:rPr lang="en-US" sz="1000"/>
              <a:t>5Lorem</a:t>
            </a:r>
            <a:endParaRPr lang="en-US" sz="1000" dirty="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7771FEB2-5141-A500-BCD6-20A57BB00248}"/>
              </a:ext>
            </a:extLst>
          </p:cNvPr>
          <p:cNvSpPr/>
          <p:nvPr/>
        </p:nvSpPr>
        <p:spPr>
          <a:xfrm flipH="1">
            <a:off x="5921817" y="3802451"/>
            <a:ext cx="2793097" cy="352341"/>
          </a:xfrm>
          <a:prstGeom prst="rect">
            <a:avLst/>
          </a:prstGeom>
          <a:ln>
            <a:noFill/>
          </a:ln>
        </p:spPr>
        <p:txBody>
          <a:bodyPr wrap="square" lIns="0" tIns="0" rIns="0" bIns="0" anchor="ctr">
            <a:spAutoFit/>
          </a:bodyPr>
          <a:lstStyle/>
          <a:p>
            <a:pPr defTabSz="685739">
              <a:lnSpc>
                <a:spcPct val="120000"/>
              </a:lnSpc>
            </a:pPr>
            <a:r>
              <a:rPr lang="en-US" sz="1000" dirty="0"/>
              <a:t>1Lorem ipsum dolor sit amet, consectetur adipiscing elit, sed do eiusmod tempor 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3276020E-1EC1-B166-D709-6FB5C672DFF1}"/>
              </a:ext>
            </a:extLst>
          </p:cNvPr>
          <p:cNvSpPr/>
          <p:nvPr/>
        </p:nvSpPr>
        <p:spPr>
          <a:xfrm>
            <a:off x="5686788" y="2578538"/>
            <a:ext cx="2793099" cy="352341"/>
          </a:xfrm>
          <a:prstGeom prst="rect">
            <a:avLst/>
          </a:prstGeom>
          <a:ln>
            <a:noFill/>
          </a:ln>
        </p:spPr>
        <p:txBody>
          <a:bodyPr wrap="square" lIns="0" tIns="0" rIns="0" bIns="0" anchor="ctr">
            <a:spAutoFit/>
          </a:bodyPr>
          <a:lstStyle/>
          <a:p>
            <a:pPr defTabSz="685739">
              <a:lnSpc>
                <a:spcPct val="120000"/>
              </a:lnSpc>
            </a:pPr>
            <a:r>
              <a:rPr lang="en-US" sz="1000" dirty="0"/>
              <a:t>3Lorem ipsum dolor sit amet, consectetur adipiscing elit, sed do eiusmod tempor 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235A6BB4-0FD3-6BA8-44B7-4F1424449067}"/>
              </a:ext>
            </a:extLst>
          </p:cNvPr>
          <p:cNvSpPr/>
          <p:nvPr/>
        </p:nvSpPr>
        <p:spPr>
          <a:xfrm flipH="1">
            <a:off x="5804303" y="3190494"/>
            <a:ext cx="2793097" cy="352341"/>
          </a:xfrm>
          <a:prstGeom prst="rect">
            <a:avLst/>
          </a:prstGeom>
          <a:ln>
            <a:noFill/>
          </a:ln>
        </p:spPr>
        <p:txBody>
          <a:bodyPr wrap="square" lIns="0" tIns="0" rIns="0" bIns="0" anchor="ctr">
            <a:spAutoFit/>
          </a:bodyPr>
          <a:lstStyle/>
          <a:p>
            <a:pPr defTabSz="685739">
              <a:lnSpc>
                <a:spcPct val="120000"/>
              </a:lnSpc>
            </a:pPr>
            <a:r>
              <a:rPr lang="en-US" sz="1000" dirty="0"/>
              <a:t>2Lorem ipsum dolor sit amet, consectetur adipiscing elit, sed do eiusmod tempor </a:t>
            </a:r>
          </a:p>
        </p:txBody>
      </p:sp>
      <p:sp>
        <p:nvSpPr>
          <p:cNvPr id="73" name="Graphic 22">
            <a:extLst>
              <a:ext uri="{FF2B5EF4-FFF2-40B4-BE49-F238E27FC236}">
                <a16:creationId xmlns:a16="http://schemas.microsoft.com/office/drawing/2014/main" id="{AE966034-E5A6-21F0-5879-7BC04FF34A21}"/>
              </a:ext>
            </a:extLst>
          </p:cNvPr>
          <p:cNvSpPr/>
          <p:nvPr/>
        </p:nvSpPr>
        <p:spPr>
          <a:xfrm>
            <a:off x="5335467" y="3792677"/>
            <a:ext cx="372263" cy="371888"/>
          </a:xfrm>
          <a:custGeom>
            <a:avLst/>
            <a:gdLst>
              <a:gd name="connsiteX0" fmla="*/ 15914 w 430312"/>
              <a:gd name="connsiteY0" fmla="*/ 154565 h 429878"/>
              <a:gd name="connsiteX1" fmla="*/ 82106 w 430312"/>
              <a:gd name="connsiteY1" fmla="*/ 172301 h 429878"/>
              <a:gd name="connsiteX2" fmla="*/ 83855 w 430312"/>
              <a:gd name="connsiteY2" fmla="*/ 172532 h 429878"/>
              <a:gd name="connsiteX3" fmla="*/ 90177 w 430312"/>
              <a:gd name="connsiteY3" fmla="*/ 168139 h 429878"/>
              <a:gd name="connsiteX4" fmla="*/ 202497 w 430312"/>
              <a:gd name="connsiteY4" fmla="*/ 81978 h 429878"/>
              <a:gd name="connsiteX5" fmla="*/ 208615 w 430312"/>
              <a:gd name="connsiteY5" fmla="*/ 75257 h 429878"/>
              <a:gd name="connsiteX6" fmla="*/ 208615 w 430312"/>
              <a:gd name="connsiteY6" fmla="*/ 6750 h 429878"/>
              <a:gd name="connsiteX7" fmla="*/ 206486 w 430312"/>
              <a:gd name="connsiteY7" fmla="*/ 1829 h 429878"/>
              <a:gd name="connsiteX8" fmla="*/ 201441 w 430312"/>
              <a:gd name="connsiteY8" fmla="*/ 14 h 429878"/>
              <a:gd name="connsiteX9" fmla="*/ 83314 w 430312"/>
              <a:gd name="connsiteY9" fmla="*/ 44703 h 429878"/>
              <a:gd name="connsiteX10" fmla="*/ 11265 w 430312"/>
              <a:gd name="connsiteY10" fmla="*/ 145886 h 429878"/>
              <a:gd name="connsiteX11" fmla="*/ 11710 w 430312"/>
              <a:gd name="connsiteY11" fmla="*/ 151232 h 429878"/>
              <a:gd name="connsiteX12" fmla="*/ 15914 w 430312"/>
              <a:gd name="connsiteY12" fmla="*/ 154565 h 429878"/>
              <a:gd name="connsiteX13" fmla="*/ 195116 w 430312"/>
              <a:gd name="connsiteY13" fmla="*/ 14065 h 429878"/>
              <a:gd name="connsiteX14" fmla="*/ 195116 w 430312"/>
              <a:gd name="connsiteY14" fmla="*/ 69242 h 429878"/>
              <a:gd name="connsiteX15" fmla="*/ 125238 w 430312"/>
              <a:gd name="connsiteY15" fmla="*/ 98628 h 429878"/>
              <a:gd name="connsiteX16" fmla="*/ 79799 w 430312"/>
              <a:gd name="connsiteY16" fmla="*/ 157706 h 429878"/>
              <a:gd name="connsiteX17" fmla="*/ 26479 w 430312"/>
              <a:gd name="connsiteY17" fmla="*/ 143420 h 429878"/>
              <a:gd name="connsiteX18" fmla="*/ 195116 w 430312"/>
              <a:gd name="connsiteY18" fmla="*/ 14065 h 429878"/>
              <a:gd name="connsiteX19" fmla="*/ 371756 w 430312"/>
              <a:gd name="connsiteY19" fmla="*/ 67190 h 429878"/>
              <a:gd name="connsiteX20" fmla="*/ 228871 w 430312"/>
              <a:gd name="connsiteY20" fmla="*/ 14 h 429878"/>
              <a:gd name="connsiteX21" fmla="*/ 223827 w 430312"/>
              <a:gd name="connsiteY21" fmla="*/ 1829 h 429878"/>
              <a:gd name="connsiteX22" fmla="*/ 221698 w 430312"/>
              <a:gd name="connsiteY22" fmla="*/ 6750 h 429878"/>
              <a:gd name="connsiteX23" fmla="*/ 221698 w 430312"/>
              <a:gd name="connsiteY23" fmla="*/ 75257 h 429878"/>
              <a:gd name="connsiteX24" fmla="*/ 227815 w 430312"/>
              <a:gd name="connsiteY24" fmla="*/ 81977 h 429878"/>
              <a:gd name="connsiteX25" fmla="*/ 348505 w 430312"/>
              <a:gd name="connsiteY25" fmla="*/ 214723 h 429878"/>
              <a:gd name="connsiteX26" fmla="*/ 346663 w 430312"/>
              <a:gd name="connsiteY26" fmla="*/ 236870 h 429878"/>
              <a:gd name="connsiteX27" fmla="*/ 351574 w 430312"/>
              <a:gd name="connsiteY27" fmla="*/ 244504 h 429878"/>
              <a:gd name="connsiteX28" fmla="*/ 417774 w 430312"/>
              <a:gd name="connsiteY28" fmla="*/ 262243 h 429878"/>
              <a:gd name="connsiteX29" fmla="*/ 419520 w 430312"/>
              <a:gd name="connsiteY29" fmla="*/ 262472 h 429878"/>
              <a:gd name="connsiteX30" fmla="*/ 423083 w 430312"/>
              <a:gd name="connsiteY30" fmla="*/ 261455 h 429878"/>
              <a:gd name="connsiteX31" fmla="*/ 426140 w 430312"/>
              <a:gd name="connsiteY31" fmla="*/ 257043 h 429878"/>
              <a:gd name="connsiteX32" fmla="*/ 430313 w 430312"/>
              <a:gd name="connsiteY32" fmla="*/ 214723 h 429878"/>
              <a:gd name="connsiteX33" fmla="*/ 371756 w 430312"/>
              <a:gd name="connsiteY33" fmla="*/ 67190 h 429878"/>
              <a:gd name="connsiteX34" fmla="*/ 414184 w 430312"/>
              <a:gd name="connsiteY34" fmla="*/ 247306 h 429878"/>
              <a:gd name="connsiteX35" fmla="*/ 360865 w 430312"/>
              <a:gd name="connsiteY35" fmla="*/ 233018 h 429878"/>
              <a:gd name="connsiteX36" fmla="*/ 362005 w 430312"/>
              <a:gd name="connsiteY36" fmla="*/ 214723 h 429878"/>
              <a:gd name="connsiteX37" fmla="*/ 323507 w 430312"/>
              <a:gd name="connsiteY37" fmla="*/ 115609 h 429878"/>
              <a:gd name="connsiteX38" fmla="*/ 235198 w 430312"/>
              <a:gd name="connsiteY38" fmla="*/ 69242 h 429878"/>
              <a:gd name="connsiteX39" fmla="*/ 235198 w 430312"/>
              <a:gd name="connsiteY39" fmla="*/ 14066 h 429878"/>
              <a:gd name="connsiteX40" fmla="*/ 416813 w 430312"/>
              <a:gd name="connsiteY40" fmla="*/ 214723 h 429878"/>
              <a:gd name="connsiteX41" fmla="*/ 414184 w 430312"/>
              <a:gd name="connsiteY41" fmla="*/ 247306 h 429878"/>
              <a:gd name="connsiteX42" fmla="*/ 168573 w 430312"/>
              <a:gd name="connsiteY42" fmla="*/ 339702 h 429878"/>
              <a:gd name="connsiteX43" fmla="*/ 106508 w 430312"/>
              <a:gd name="connsiteY43" fmla="*/ 292051 h 429878"/>
              <a:gd name="connsiteX44" fmla="*/ 97637 w 430312"/>
              <a:gd name="connsiteY44" fmla="*/ 290124 h 429878"/>
              <a:gd name="connsiteX45" fmla="*/ 38299 w 430312"/>
              <a:gd name="connsiteY45" fmla="*/ 324384 h 429878"/>
              <a:gd name="connsiteX46" fmla="*/ 35101 w 430312"/>
              <a:gd name="connsiteY46" fmla="*/ 328694 h 429878"/>
              <a:gd name="connsiteX47" fmla="*/ 36059 w 430312"/>
              <a:gd name="connsiteY47" fmla="*/ 333975 h 429878"/>
              <a:gd name="connsiteX48" fmla="*/ 146316 w 430312"/>
              <a:gd name="connsiteY48" fmla="*/ 418620 h 429878"/>
              <a:gd name="connsiteX49" fmla="*/ 148476 w 430312"/>
              <a:gd name="connsiteY49" fmla="*/ 418974 h 429878"/>
              <a:gd name="connsiteX50" fmla="*/ 151662 w 430312"/>
              <a:gd name="connsiteY50" fmla="*/ 418174 h 429878"/>
              <a:gd name="connsiteX51" fmla="*/ 154995 w 430312"/>
              <a:gd name="connsiteY51" fmla="*/ 413972 h 429878"/>
              <a:gd name="connsiteX52" fmla="*/ 172733 w 430312"/>
              <a:gd name="connsiteY52" fmla="*/ 347774 h 429878"/>
              <a:gd name="connsiteX53" fmla="*/ 168573 w 430312"/>
              <a:gd name="connsiteY53" fmla="*/ 339702 h 429878"/>
              <a:gd name="connsiteX54" fmla="*/ 143852 w 430312"/>
              <a:gd name="connsiteY54" fmla="*/ 403401 h 429878"/>
              <a:gd name="connsiteX55" fmla="*/ 51399 w 430312"/>
              <a:gd name="connsiteY55" fmla="*/ 332409 h 429878"/>
              <a:gd name="connsiteX56" fmla="*/ 99187 w 430312"/>
              <a:gd name="connsiteY56" fmla="*/ 304819 h 429878"/>
              <a:gd name="connsiteX57" fmla="*/ 158139 w 430312"/>
              <a:gd name="connsiteY57" fmla="*/ 350083 h 429878"/>
              <a:gd name="connsiteX58" fmla="*/ 414411 w 430312"/>
              <a:gd name="connsiteY58" fmla="*/ 274885 h 429878"/>
              <a:gd name="connsiteX59" fmla="*/ 348206 w 430312"/>
              <a:gd name="connsiteY59" fmla="*/ 257146 h 429878"/>
              <a:gd name="connsiteX60" fmla="*/ 340134 w 430312"/>
              <a:gd name="connsiteY60" fmla="*/ 261308 h 429878"/>
              <a:gd name="connsiteX61" fmla="*/ 215156 w 430312"/>
              <a:gd name="connsiteY61" fmla="*/ 348071 h 429878"/>
              <a:gd name="connsiteX62" fmla="*/ 193009 w 430312"/>
              <a:gd name="connsiteY62" fmla="*/ 346229 h 429878"/>
              <a:gd name="connsiteX63" fmla="*/ 185374 w 430312"/>
              <a:gd name="connsiteY63" fmla="*/ 351139 h 429878"/>
              <a:gd name="connsiteX64" fmla="*/ 167635 w 430312"/>
              <a:gd name="connsiteY64" fmla="*/ 417342 h 429878"/>
              <a:gd name="connsiteX65" fmla="*/ 168423 w 430312"/>
              <a:gd name="connsiteY65" fmla="*/ 422652 h 429878"/>
              <a:gd name="connsiteX66" fmla="*/ 172835 w 430312"/>
              <a:gd name="connsiteY66" fmla="*/ 425709 h 429878"/>
              <a:gd name="connsiteX67" fmla="*/ 215156 w 430312"/>
              <a:gd name="connsiteY67" fmla="*/ 429878 h 429878"/>
              <a:gd name="connsiteX68" fmla="*/ 419060 w 430312"/>
              <a:gd name="connsiteY68" fmla="*/ 283562 h 429878"/>
              <a:gd name="connsiteX69" fmla="*/ 418615 w 430312"/>
              <a:gd name="connsiteY69" fmla="*/ 278216 h 429878"/>
              <a:gd name="connsiteX70" fmla="*/ 414411 w 430312"/>
              <a:gd name="connsiteY70" fmla="*/ 274885 h 429878"/>
              <a:gd name="connsiteX71" fmla="*/ 215156 w 430312"/>
              <a:gd name="connsiteY71" fmla="*/ 416379 h 429878"/>
              <a:gd name="connsiteX72" fmla="*/ 182573 w 430312"/>
              <a:gd name="connsiteY72" fmla="*/ 413754 h 429878"/>
              <a:gd name="connsiteX73" fmla="*/ 196861 w 430312"/>
              <a:gd name="connsiteY73" fmla="*/ 360432 h 429878"/>
              <a:gd name="connsiteX74" fmla="*/ 215157 w 430312"/>
              <a:gd name="connsiteY74" fmla="*/ 361571 h 429878"/>
              <a:gd name="connsiteX75" fmla="*/ 299819 w 430312"/>
              <a:gd name="connsiteY75" fmla="*/ 334720 h 429878"/>
              <a:gd name="connsiteX76" fmla="*/ 350517 w 430312"/>
              <a:gd name="connsiteY76" fmla="*/ 271741 h 429878"/>
              <a:gd name="connsiteX77" fmla="*/ 403847 w 430312"/>
              <a:gd name="connsiteY77" fmla="*/ 286030 h 429878"/>
              <a:gd name="connsiteX78" fmla="*/ 215156 w 430312"/>
              <a:gd name="connsiteY78" fmla="*/ 416379 h 429878"/>
              <a:gd name="connsiteX79" fmla="*/ 93844 w 430312"/>
              <a:gd name="connsiteY79" fmla="*/ 270150 h 429878"/>
              <a:gd name="connsiteX80" fmla="*/ 81809 w 430312"/>
              <a:gd name="connsiteY80" fmla="*/ 214724 h 429878"/>
              <a:gd name="connsiteX81" fmla="*/ 83650 w 430312"/>
              <a:gd name="connsiteY81" fmla="*/ 192576 h 429878"/>
              <a:gd name="connsiteX82" fmla="*/ 78740 w 430312"/>
              <a:gd name="connsiteY82" fmla="*/ 184942 h 429878"/>
              <a:gd name="connsiteX83" fmla="*/ 12536 w 430312"/>
              <a:gd name="connsiteY83" fmla="*/ 167203 h 429878"/>
              <a:gd name="connsiteX84" fmla="*/ 7226 w 430312"/>
              <a:gd name="connsiteY84" fmla="*/ 167990 h 429878"/>
              <a:gd name="connsiteX85" fmla="*/ 4169 w 430312"/>
              <a:gd name="connsiteY85" fmla="*/ 172402 h 429878"/>
              <a:gd name="connsiteX86" fmla="*/ 0 w 430312"/>
              <a:gd name="connsiteY86" fmla="*/ 214723 h 429878"/>
              <a:gd name="connsiteX87" fmla="*/ 22320 w 430312"/>
              <a:gd name="connsiteY87" fmla="*/ 310220 h 429878"/>
              <a:gd name="connsiteX88" fmla="*/ 26415 w 430312"/>
              <a:gd name="connsiteY88" fmla="*/ 313681 h 429878"/>
              <a:gd name="connsiteX89" fmla="*/ 28366 w 430312"/>
              <a:gd name="connsiteY89" fmla="*/ 313970 h 429878"/>
              <a:gd name="connsiteX90" fmla="*/ 31741 w 430312"/>
              <a:gd name="connsiteY90" fmla="*/ 313065 h 429878"/>
              <a:gd name="connsiteX91" fmla="*/ 91080 w 430312"/>
              <a:gd name="connsiteY91" fmla="*/ 278805 h 429878"/>
              <a:gd name="connsiteX92" fmla="*/ 93844 w 430312"/>
              <a:gd name="connsiteY92" fmla="*/ 270150 h 429878"/>
              <a:gd name="connsiteX93" fmla="*/ 31326 w 430312"/>
              <a:gd name="connsiteY93" fmla="*/ 297716 h 429878"/>
              <a:gd name="connsiteX94" fmla="*/ 13500 w 430312"/>
              <a:gd name="connsiteY94" fmla="*/ 214723 h 429878"/>
              <a:gd name="connsiteX95" fmla="*/ 16124 w 430312"/>
              <a:gd name="connsiteY95" fmla="*/ 182140 h 429878"/>
              <a:gd name="connsiteX96" fmla="*/ 69447 w 430312"/>
              <a:gd name="connsiteY96" fmla="*/ 196428 h 429878"/>
              <a:gd name="connsiteX97" fmla="*/ 68308 w 430312"/>
              <a:gd name="connsiteY97" fmla="*/ 214724 h 429878"/>
              <a:gd name="connsiteX98" fmla="*/ 79122 w 430312"/>
              <a:gd name="connsiteY98" fmla="*/ 270120 h 429878"/>
              <a:gd name="connsiteX99" fmla="*/ 291111 w 430312"/>
              <a:gd name="connsiteY99" fmla="*/ 139886 h 429878"/>
              <a:gd name="connsiteX100" fmla="*/ 281564 w 430312"/>
              <a:gd name="connsiteY100" fmla="*/ 139886 h 429878"/>
              <a:gd name="connsiteX101" fmla="*/ 246561 w 430312"/>
              <a:gd name="connsiteY101" fmla="*/ 174890 h 429878"/>
              <a:gd name="connsiteX102" fmla="*/ 183754 w 430312"/>
              <a:gd name="connsiteY102" fmla="*/ 174890 h 429878"/>
              <a:gd name="connsiteX103" fmla="*/ 148750 w 430312"/>
              <a:gd name="connsiteY103" fmla="*/ 139886 h 429878"/>
              <a:gd name="connsiteX104" fmla="*/ 139204 w 430312"/>
              <a:gd name="connsiteY104" fmla="*/ 139886 h 429878"/>
              <a:gd name="connsiteX105" fmla="*/ 139204 w 430312"/>
              <a:gd name="connsiteY105" fmla="*/ 149432 h 429878"/>
              <a:gd name="connsiteX106" fmla="*/ 164661 w 430312"/>
              <a:gd name="connsiteY106" fmla="*/ 174890 h 429878"/>
              <a:gd name="connsiteX107" fmla="*/ 143773 w 430312"/>
              <a:gd name="connsiteY107" fmla="*/ 174890 h 429878"/>
              <a:gd name="connsiteX108" fmla="*/ 131987 w 430312"/>
              <a:gd name="connsiteY108" fmla="*/ 186676 h 429878"/>
              <a:gd name="connsiteX109" fmla="*/ 131987 w 430312"/>
              <a:gd name="connsiteY109" fmla="*/ 199555 h 429878"/>
              <a:gd name="connsiteX110" fmla="*/ 141499 w 430312"/>
              <a:gd name="connsiteY110" fmla="*/ 211116 h 429878"/>
              <a:gd name="connsiteX111" fmla="*/ 163904 w 430312"/>
              <a:gd name="connsiteY111" fmla="*/ 283903 h 429878"/>
              <a:gd name="connsiteX112" fmla="*/ 174239 w 430312"/>
              <a:gd name="connsiteY112" fmla="*/ 291537 h 429878"/>
              <a:gd name="connsiteX113" fmla="*/ 256075 w 430312"/>
              <a:gd name="connsiteY113" fmla="*/ 291537 h 429878"/>
              <a:gd name="connsiteX114" fmla="*/ 266410 w 430312"/>
              <a:gd name="connsiteY114" fmla="*/ 283904 h 429878"/>
              <a:gd name="connsiteX115" fmla="*/ 288815 w 430312"/>
              <a:gd name="connsiteY115" fmla="*/ 211116 h 429878"/>
              <a:gd name="connsiteX116" fmla="*/ 298327 w 430312"/>
              <a:gd name="connsiteY116" fmla="*/ 199555 h 429878"/>
              <a:gd name="connsiteX117" fmla="*/ 298327 w 430312"/>
              <a:gd name="connsiteY117" fmla="*/ 186676 h 429878"/>
              <a:gd name="connsiteX118" fmla="*/ 286541 w 430312"/>
              <a:gd name="connsiteY118" fmla="*/ 174890 h 429878"/>
              <a:gd name="connsiteX119" fmla="*/ 265653 w 430312"/>
              <a:gd name="connsiteY119" fmla="*/ 174890 h 429878"/>
              <a:gd name="connsiteX120" fmla="*/ 291111 w 430312"/>
              <a:gd name="connsiteY120" fmla="*/ 149432 h 429878"/>
              <a:gd name="connsiteX121" fmla="*/ 291111 w 430312"/>
              <a:gd name="connsiteY121" fmla="*/ 139886 h 429878"/>
              <a:gd name="connsiteX122" fmla="*/ 254091 w 430312"/>
              <a:gd name="connsiteY122" fmla="*/ 278037 h 429878"/>
              <a:gd name="connsiteX123" fmla="*/ 176222 w 430312"/>
              <a:gd name="connsiteY123" fmla="*/ 278037 h 429878"/>
              <a:gd name="connsiteX124" fmla="*/ 155692 w 430312"/>
              <a:gd name="connsiteY124" fmla="*/ 211340 h 429878"/>
              <a:gd name="connsiteX125" fmla="*/ 274620 w 430312"/>
              <a:gd name="connsiteY125" fmla="*/ 211340 h 429878"/>
              <a:gd name="connsiteX126" fmla="*/ 284826 w 430312"/>
              <a:gd name="connsiteY126" fmla="*/ 197841 h 429878"/>
              <a:gd name="connsiteX127" fmla="*/ 145486 w 430312"/>
              <a:gd name="connsiteY127" fmla="*/ 197841 h 429878"/>
              <a:gd name="connsiteX128" fmla="*/ 145486 w 430312"/>
              <a:gd name="connsiteY128" fmla="*/ 188391 h 429878"/>
              <a:gd name="connsiteX129" fmla="*/ 284827 w 430312"/>
              <a:gd name="connsiteY129" fmla="*/ 188391 h 429878"/>
              <a:gd name="connsiteX130" fmla="*/ 284827 w 430312"/>
              <a:gd name="connsiteY130" fmla="*/ 197841 h 429878"/>
              <a:gd name="connsiteX131" fmla="*/ 221906 w 430312"/>
              <a:gd name="connsiteY131" fmla="*/ 227368 h 429878"/>
              <a:gd name="connsiteX132" fmla="*/ 221906 w 430312"/>
              <a:gd name="connsiteY132" fmla="*/ 257502 h 429878"/>
              <a:gd name="connsiteX133" fmla="*/ 215156 w 430312"/>
              <a:gd name="connsiteY133" fmla="*/ 264252 h 429878"/>
              <a:gd name="connsiteX134" fmla="*/ 208406 w 430312"/>
              <a:gd name="connsiteY134" fmla="*/ 257502 h 429878"/>
              <a:gd name="connsiteX135" fmla="*/ 208406 w 430312"/>
              <a:gd name="connsiteY135" fmla="*/ 227368 h 429878"/>
              <a:gd name="connsiteX136" fmla="*/ 215156 w 430312"/>
              <a:gd name="connsiteY136" fmla="*/ 220618 h 429878"/>
              <a:gd name="connsiteX137" fmla="*/ 221906 w 430312"/>
              <a:gd name="connsiteY137" fmla="*/ 227368 h 429878"/>
              <a:gd name="connsiteX138" fmla="*/ 258492 w 430312"/>
              <a:gd name="connsiteY138" fmla="*/ 229352 h 429878"/>
              <a:gd name="connsiteX139" fmla="*/ 249220 w 430312"/>
              <a:gd name="connsiteY139" fmla="*/ 259487 h 429878"/>
              <a:gd name="connsiteX140" fmla="*/ 242771 w 430312"/>
              <a:gd name="connsiteY140" fmla="*/ 264253 h 429878"/>
              <a:gd name="connsiteX141" fmla="*/ 240783 w 430312"/>
              <a:gd name="connsiteY141" fmla="*/ 263954 h 429878"/>
              <a:gd name="connsiteX142" fmla="*/ 236317 w 430312"/>
              <a:gd name="connsiteY142" fmla="*/ 255517 h 429878"/>
              <a:gd name="connsiteX143" fmla="*/ 245589 w 430312"/>
              <a:gd name="connsiteY143" fmla="*/ 225383 h 429878"/>
              <a:gd name="connsiteX144" fmla="*/ 254025 w 430312"/>
              <a:gd name="connsiteY144" fmla="*/ 220916 h 429878"/>
              <a:gd name="connsiteX145" fmla="*/ 258492 w 430312"/>
              <a:gd name="connsiteY145" fmla="*/ 229352 h 429878"/>
              <a:gd name="connsiteX146" fmla="*/ 193996 w 430312"/>
              <a:gd name="connsiteY146" fmla="*/ 255517 h 429878"/>
              <a:gd name="connsiteX147" fmla="*/ 189529 w 430312"/>
              <a:gd name="connsiteY147" fmla="*/ 263954 h 429878"/>
              <a:gd name="connsiteX148" fmla="*/ 187542 w 430312"/>
              <a:gd name="connsiteY148" fmla="*/ 264253 h 429878"/>
              <a:gd name="connsiteX149" fmla="*/ 181092 w 430312"/>
              <a:gd name="connsiteY149" fmla="*/ 259487 h 429878"/>
              <a:gd name="connsiteX150" fmla="*/ 171820 w 430312"/>
              <a:gd name="connsiteY150" fmla="*/ 229352 h 429878"/>
              <a:gd name="connsiteX151" fmla="*/ 176287 w 430312"/>
              <a:gd name="connsiteY151" fmla="*/ 220916 h 429878"/>
              <a:gd name="connsiteX152" fmla="*/ 184724 w 430312"/>
              <a:gd name="connsiteY152" fmla="*/ 225383 h 4298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</a:cxnLst>
            <a:rect l="l" t="t" r="r" b="b"/>
            <a:pathLst>
              <a:path w="430312" h="429878">
                <a:moveTo>
                  <a:pt x="15914" y="154565"/>
                </a:moveTo>
                <a:lnTo>
                  <a:pt x="82106" y="172301"/>
                </a:lnTo>
                <a:cubicBezTo>
                  <a:pt x="82689" y="172458"/>
                  <a:pt x="83276" y="172532"/>
                  <a:pt x="83855" y="172532"/>
                </a:cubicBezTo>
                <a:cubicBezTo>
                  <a:pt x="86612" y="172532"/>
                  <a:pt x="89173" y="170833"/>
                  <a:pt x="90177" y="168139"/>
                </a:cubicBezTo>
                <a:cubicBezTo>
                  <a:pt x="107924" y="120551"/>
                  <a:pt x="152012" y="86730"/>
                  <a:pt x="202497" y="81978"/>
                </a:cubicBezTo>
                <a:cubicBezTo>
                  <a:pt x="205964" y="81651"/>
                  <a:pt x="208615" y="78740"/>
                  <a:pt x="208615" y="75257"/>
                </a:cubicBezTo>
                <a:lnTo>
                  <a:pt x="208615" y="6750"/>
                </a:lnTo>
                <a:cubicBezTo>
                  <a:pt x="208615" y="4886"/>
                  <a:pt x="207844" y="3106"/>
                  <a:pt x="206486" y="1829"/>
                </a:cubicBezTo>
                <a:cubicBezTo>
                  <a:pt x="205127" y="554"/>
                  <a:pt x="203305" y="-104"/>
                  <a:pt x="201441" y="14"/>
                </a:cubicBezTo>
                <a:cubicBezTo>
                  <a:pt x="158315" y="2728"/>
                  <a:pt x="117467" y="18182"/>
                  <a:pt x="83314" y="44703"/>
                </a:cubicBezTo>
                <a:cubicBezTo>
                  <a:pt x="49717" y="70792"/>
                  <a:pt x="24802" y="105781"/>
                  <a:pt x="11265" y="145886"/>
                </a:cubicBezTo>
                <a:cubicBezTo>
                  <a:pt x="10668" y="147654"/>
                  <a:pt x="10830" y="149588"/>
                  <a:pt x="11710" y="151232"/>
                </a:cubicBezTo>
                <a:cubicBezTo>
                  <a:pt x="12591" y="152876"/>
                  <a:pt x="14113" y="154081"/>
                  <a:pt x="15914" y="154565"/>
                </a:cubicBezTo>
                <a:close/>
                <a:moveTo>
                  <a:pt x="195116" y="14065"/>
                </a:moveTo>
                <a:lnTo>
                  <a:pt x="195116" y="69242"/>
                </a:lnTo>
                <a:cubicBezTo>
                  <a:pt x="169675" y="72719"/>
                  <a:pt x="145630" y="82812"/>
                  <a:pt x="125238" y="98628"/>
                </a:cubicBezTo>
                <a:cubicBezTo>
                  <a:pt x="105195" y="114171"/>
                  <a:pt x="89579" y="134503"/>
                  <a:pt x="79799" y="157706"/>
                </a:cubicBezTo>
                <a:lnTo>
                  <a:pt x="26479" y="143420"/>
                </a:lnTo>
                <a:cubicBezTo>
                  <a:pt x="53614" y="71449"/>
                  <a:pt x="118627" y="21579"/>
                  <a:pt x="195116" y="14065"/>
                </a:cubicBezTo>
                <a:close/>
                <a:moveTo>
                  <a:pt x="371756" y="67190"/>
                </a:moveTo>
                <a:cubicBezTo>
                  <a:pt x="334160" y="27305"/>
                  <a:pt x="283416" y="3448"/>
                  <a:pt x="228871" y="14"/>
                </a:cubicBezTo>
                <a:cubicBezTo>
                  <a:pt x="227006" y="-105"/>
                  <a:pt x="225185" y="554"/>
                  <a:pt x="223827" y="1829"/>
                </a:cubicBezTo>
                <a:cubicBezTo>
                  <a:pt x="222468" y="3106"/>
                  <a:pt x="221698" y="4886"/>
                  <a:pt x="221698" y="6750"/>
                </a:cubicBezTo>
                <a:lnTo>
                  <a:pt x="221698" y="75257"/>
                </a:lnTo>
                <a:cubicBezTo>
                  <a:pt x="221698" y="78740"/>
                  <a:pt x="224348" y="81651"/>
                  <a:pt x="227815" y="81977"/>
                </a:cubicBezTo>
                <a:cubicBezTo>
                  <a:pt x="296619" y="88453"/>
                  <a:pt x="348505" y="145522"/>
                  <a:pt x="348505" y="214723"/>
                </a:cubicBezTo>
                <a:cubicBezTo>
                  <a:pt x="348505" y="222120"/>
                  <a:pt x="347886" y="229571"/>
                  <a:pt x="346663" y="236870"/>
                </a:cubicBezTo>
                <a:cubicBezTo>
                  <a:pt x="346089" y="240299"/>
                  <a:pt x="348215" y="243603"/>
                  <a:pt x="351574" y="244504"/>
                </a:cubicBezTo>
                <a:lnTo>
                  <a:pt x="417774" y="262243"/>
                </a:lnTo>
                <a:cubicBezTo>
                  <a:pt x="418349" y="262397"/>
                  <a:pt x="418935" y="262472"/>
                  <a:pt x="419520" y="262472"/>
                </a:cubicBezTo>
                <a:cubicBezTo>
                  <a:pt x="420768" y="262472"/>
                  <a:pt x="422003" y="262126"/>
                  <a:pt x="423083" y="261455"/>
                </a:cubicBezTo>
                <a:cubicBezTo>
                  <a:pt x="424669" y="260470"/>
                  <a:pt x="425774" y="258873"/>
                  <a:pt x="426140" y="257043"/>
                </a:cubicBezTo>
                <a:cubicBezTo>
                  <a:pt x="428909" y="243165"/>
                  <a:pt x="430313" y="228925"/>
                  <a:pt x="430313" y="214723"/>
                </a:cubicBezTo>
                <a:cubicBezTo>
                  <a:pt x="430313" y="159645"/>
                  <a:pt x="409517" y="107250"/>
                  <a:pt x="371756" y="67190"/>
                </a:cubicBezTo>
                <a:close/>
                <a:moveTo>
                  <a:pt x="414184" y="247306"/>
                </a:moveTo>
                <a:lnTo>
                  <a:pt x="360865" y="233018"/>
                </a:lnTo>
                <a:cubicBezTo>
                  <a:pt x="361622" y="226950"/>
                  <a:pt x="362005" y="220820"/>
                  <a:pt x="362005" y="214723"/>
                </a:cubicBezTo>
                <a:cubicBezTo>
                  <a:pt x="362005" y="177930"/>
                  <a:pt x="348333" y="142730"/>
                  <a:pt x="323507" y="115609"/>
                </a:cubicBezTo>
                <a:cubicBezTo>
                  <a:pt x="300237" y="90186"/>
                  <a:pt x="269071" y="73869"/>
                  <a:pt x="235198" y="69242"/>
                </a:cubicBezTo>
                <a:lnTo>
                  <a:pt x="235198" y="14066"/>
                </a:lnTo>
                <a:cubicBezTo>
                  <a:pt x="337609" y="24174"/>
                  <a:pt x="416813" y="110956"/>
                  <a:pt x="416813" y="214723"/>
                </a:cubicBezTo>
                <a:cubicBezTo>
                  <a:pt x="416813" y="225630"/>
                  <a:pt x="415930" y="236559"/>
                  <a:pt x="414184" y="247306"/>
                </a:cubicBezTo>
                <a:close/>
                <a:moveTo>
                  <a:pt x="168573" y="339702"/>
                </a:moveTo>
                <a:cubicBezTo>
                  <a:pt x="143543" y="330367"/>
                  <a:pt x="122081" y="313889"/>
                  <a:pt x="106508" y="292051"/>
                </a:cubicBezTo>
                <a:cubicBezTo>
                  <a:pt x="104487" y="289219"/>
                  <a:pt x="100650" y="288382"/>
                  <a:pt x="97637" y="290124"/>
                </a:cubicBezTo>
                <a:lnTo>
                  <a:pt x="38299" y="324384"/>
                </a:lnTo>
                <a:cubicBezTo>
                  <a:pt x="36683" y="325316"/>
                  <a:pt x="35525" y="326877"/>
                  <a:pt x="35101" y="328694"/>
                </a:cubicBezTo>
                <a:cubicBezTo>
                  <a:pt x="34676" y="330510"/>
                  <a:pt x="35023" y="332422"/>
                  <a:pt x="36059" y="333975"/>
                </a:cubicBezTo>
                <a:cubicBezTo>
                  <a:pt x="62394" y="373449"/>
                  <a:pt x="101550" y="403510"/>
                  <a:pt x="146316" y="418620"/>
                </a:cubicBezTo>
                <a:cubicBezTo>
                  <a:pt x="147019" y="418857"/>
                  <a:pt x="147748" y="418974"/>
                  <a:pt x="148476" y="418974"/>
                </a:cubicBezTo>
                <a:cubicBezTo>
                  <a:pt x="149577" y="418974"/>
                  <a:pt x="150673" y="418705"/>
                  <a:pt x="151662" y="418174"/>
                </a:cubicBezTo>
                <a:cubicBezTo>
                  <a:pt x="153306" y="417294"/>
                  <a:pt x="154513" y="415772"/>
                  <a:pt x="154995" y="413972"/>
                </a:cubicBezTo>
                <a:lnTo>
                  <a:pt x="172733" y="347774"/>
                </a:lnTo>
                <a:cubicBezTo>
                  <a:pt x="173634" y="344413"/>
                  <a:pt x="171832" y="340918"/>
                  <a:pt x="168573" y="339702"/>
                </a:cubicBezTo>
                <a:close/>
                <a:moveTo>
                  <a:pt x="143852" y="403401"/>
                </a:moveTo>
                <a:cubicBezTo>
                  <a:pt x="106968" y="389431"/>
                  <a:pt x="74553" y="364541"/>
                  <a:pt x="51399" y="332409"/>
                </a:cubicBezTo>
                <a:lnTo>
                  <a:pt x="99187" y="304819"/>
                </a:lnTo>
                <a:cubicBezTo>
                  <a:pt x="114708" y="324795"/>
                  <a:pt x="134900" y="340299"/>
                  <a:pt x="158139" y="350083"/>
                </a:cubicBezTo>
                <a:close/>
                <a:moveTo>
                  <a:pt x="414411" y="274885"/>
                </a:moveTo>
                <a:lnTo>
                  <a:pt x="348206" y="257146"/>
                </a:lnTo>
                <a:cubicBezTo>
                  <a:pt x="344846" y="256244"/>
                  <a:pt x="341350" y="258047"/>
                  <a:pt x="340134" y="261308"/>
                </a:cubicBezTo>
                <a:cubicBezTo>
                  <a:pt x="320783" y="313203"/>
                  <a:pt x="270558" y="348071"/>
                  <a:pt x="215156" y="348071"/>
                </a:cubicBezTo>
                <a:cubicBezTo>
                  <a:pt x="207759" y="348071"/>
                  <a:pt x="200307" y="347451"/>
                  <a:pt x="193009" y="346229"/>
                </a:cubicBezTo>
                <a:cubicBezTo>
                  <a:pt x="189584" y="345657"/>
                  <a:pt x="186276" y="347780"/>
                  <a:pt x="185374" y="351139"/>
                </a:cubicBezTo>
                <a:lnTo>
                  <a:pt x="167635" y="417342"/>
                </a:lnTo>
                <a:cubicBezTo>
                  <a:pt x="167153" y="419145"/>
                  <a:pt x="167438" y="421067"/>
                  <a:pt x="168423" y="422652"/>
                </a:cubicBezTo>
                <a:cubicBezTo>
                  <a:pt x="169407" y="424237"/>
                  <a:pt x="171005" y="425343"/>
                  <a:pt x="172835" y="425709"/>
                </a:cubicBezTo>
                <a:cubicBezTo>
                  <a:pt x="186698" y="428475"/>
                  <a:pt x="200937" y="429878"/>
                  <a:pt x="215156" y="429878"/>
                </a:cubicBezTo>
                <a:cubicBezTo>
                  <a:pt x="307583" y="429878"/>
                  <a:pt x="389526" y="371079"/>
                  <a:pt x="419060" y="283562"/>
                </a:cubicBezTo>
                <a:cubicBezTo>
                  <a:pt x="419657" y="281795"/>
                  <a:pt x="419496" y="279860"/>
                  <a:pt x="418615" y="278216"/>
                </a:cubicBezTo>
                <a:cubicBezTo>
                  <a:pt x="417735" y="276574"/>
                  <a:pt x="416213" y="275367"/>
                  <a:pt x="414411" y="274885"/>
                </a:cubicBezTo>
                <a:close/>
                <a:moveTo>
                  <a:pt x="215156" y="416379"/>
                </a:moveTo>
                <a:cubicBezTo>
                  <a:pt x="204239" y="416379"/>
                  <a:pt x="193308" y="415497"/>
                  <a:pt x="182573" y="413754"/>
                </a:cubicBezTo>
                <a:lnTo>
                  <a:pt x="196861" y="360432"/>
                </a:lnTo>
                <a:cubicBezTo>
                  <a:pt x="202929" y="361188"/>
                  <a:pt x="209060" y="361571"/>
                  <a:pt x="215157" y="361571"/>
                </a:cubicBezTo>
                <a:cubicBezTo>
                  <a:pt x="245692" y="361571"/>
                  <a:pt x="274968" y="352286"/>
                  <a:pt x="299819" y="334720"/>
                </a:cubicBezTo>
                <a:cubicBezTo>
                  <a:pt x="322431" y="318736"/>
                  <a:pt x="339863" y="297052"/>
                  <a:pt x="350517" y="271741"/>
                </a:cubicBezTo>
                <a:lnTo>
                  <a:pt x="403847" y="286030"/>
                </a:lnTo>
                <a:cubicBezTo>
                  <a:pt x="374307" y="364292"/>
                  <a:pt x="299375" y="416379"/>
                  <a:pt x="215156" y="416379"/>
                </a:cubicBezTo>
                <a:close/>
                <a:moveTo>
                  <a:pt x="93844" y="270150"/>
                </a:moveTo>
                <a:cubicBezTo>
                  <a:pt x="85858" y="252702"/>
                  <a:pt x="81809" y="234055"/>
                  <a:pt x="81809" y="214724"/>
                </a:cubicBezTo>
                <a:cubicBezTo>
                  <a:pt x="81809" y="207324"/>
                  <a:pt x="82428" y="199872"/>
                  <a:pt x="83650" y="192576"/>
                </a:cubicBezTo>
                <a:cubicBezTo>
                  <a:pt x="84224" y="189147"/>
                  <a:pt x="82099" y="185842"/>
                  <a:pt x="78740" y="184942"/>
                </a:cubicBezTo>
                <a:lnTo>
                  <a:pt x="12536" y="167203"/>
                </a:lnTo>
                <a:cubicBezTo>
                  <a:pt x="10734" y="166720"/>
                  <a:pt x="8811" y="167004"/>
                  <a:pt x="7226" y="167990"/>
                </a:cubicBezTo>
                <a:cubicBezTo>
                  <a:pt x="5640" y="168975"/>
                  <a:pt x="4535" y="170573"/>
                  <a:pt x="4169" y="172402"/>
                </a:cubicBezTo>
                <a:cubicBezTo>
                  <a:pt x="1402" y="186266"/>
                  <a:pt x="0" y="200505"/>
                  <a:pt x="0" y="214723"/>
                </a:cubicBezTo>
                <a:cubicBezTo>
                  <a:pt x="0" y="248246"/>
                  <a:pt x="7509" y="280376"/>
                  <a:pt x="22320" y="310220"/>
                </a:cubicBezTo>
                <a:cubicBezTo>
                  <a:pt x="23148" y="311890"/>
                  <a:pt x="24630" y="313142"/>
                  <a:pt x="26415" y="313681"/>
                </a:cubicBezTo>
                <a:cubicBezTo>
                  <a:pt x="27055" y="313874"/>
                  <a:pt x="27711" y="313970"/>
                  <a:pt x="28366" y="313970"/>
                </a:cubicBezTo>
                <a:cubicBezTo>
                  <a:pt x="29540" y="313970"/>
                  <a:pt x="30705" y="313663"/>
                  <a:pt x="31741" y="313065"/>
                </a:cubicBezTo>
                <a:lnTo>
                  <a:pt x="91080" y="278805"/>
                </a:lnTo>
                <a:cubicBezTo>
                  <a:pt x="94096" y="277064"/>
                  <a:pt x="95291" y="273316"/>
                  <a:pt x="93844" y="270150"/>
                </a:cubicBezTo>
                <a:close/>
                <a:moveTo>
                  <a:pt x="31326" y="297716"/>
                </a:moveTo>
                <a:cubicBezTo>
                  <a:pt x="19494" y="271608"/>
                  <a:pt x="13500" y="243724"/>
                  <a:pt x="13500" y="214723"/>
                </a:cubicBezTo>
                <a:cubicBezTo>
                  <a:pt x="13500" y="203806"/>
                  <a:pt x="14382" y="192875"/>
                  <a:pt x="16124" y="182140"/>
                </a:cubicBezTo>
                <a:lnTo>
                  <a:pt x="69447" y="196428"/>
                </a:lnTo>
                <a:cubicBezTo>
                  <a:pt x="68691" y="202494"/>
                  <a:pt x="68308" y="208626"/>
                  <a:pt x="68308" y="214724"/>
                </a:cubicBezTo>
                <a:cubicBezTo>
                  <a:pt x="68308" y="233937"/>
                  <a:pt x="71943" y="252541"/>
                  <a:pt x="79122" y="270120"/>
                </a:cubicBezTo>
                <a:close/>
                <a:moveTo>
                  <a:pt x="291111" y="139886"/>
                </a:moveTo>
                <a:cubicBezTo>
                  <a:pt x="288474" y="137250"/>
                  <a:pt x="284201" y="137252"/>
                  <a:pt x="281564" y="139886"/>
                </a:cubicBezTo>
                <a:lnTo>
                  <a:pt x="246561" y="174890"/>
                </a:lnTo>
                <a:lnTo>
                  <a:pt x="183754" y="174890"/>
                </a:lnTo>
                <a:lnTo>
                  <a:pt x="148750" y="139886"/>
                </a:lnTo>
                <a:cubicBezTo>
                  <a:pt x="146115" y="137252"/>
                  <a:pt x="141841" y="137250"/>
                  <a:pt x="139204" y="139886"/>
                </a:cubicBezTo>
                <a:cubicBezTo>
                  <a:pt x="136568" y="142523"/>
                  <a:pt x="136568" y="146796"/>
                  <a:pt x="139204" y="149432"/>
                </a:cubicBezTo>
                <a:lnTo>
                  <a:pt x="164661" y="174890"/>
                </a:lnTo>
                <a:lnTo>
                  <a:pt x="143773" y="174890"/>
                </a:lnTo>
                <a:cubicBezTo>
                  <a:pt x="137275" y="174890"/>
                  <a:pt x="131987" y="180178"/>
                  <a:pt x="131987" y="186676"/>
                </a:cubicBezTo>
                <a:lnTo>
                  <a:pt x="131987" y="199555"/>
                </a:lnTo>
                <a:cubicBezTo>
                  <a:pt x="131987" y="205275"/>
                  <a:pt x="136085" y="210052"/>
                  <a:pt x="141499" y="211116"/>
                </a:cubicBezTo>
                <a:lnTo>
                  <a:pt x="163904" y="283903"/>
                </a:lnTo>
                <a:cubicBezTo>
                  <a:pt x="165308" y="288469"/>
                  <a:pt x="169462" y="291537"/>
                  <a:pt x="174239" y="291537"/>
                </a:cubicBezTo>
                <a:lnTo>
                  <a:pt x="256075" y="291537"/>
                </a:lnTo>
                <a:cubicBezTo>
                  <a:pt x="260852" y="291537"/>
                  <a:pt x="265006" y="288469"/>
                  <a:pt x="266410" y="283904"/>
                </a:cubicBezTo>
                <a:lnTo>
                  <a:pt x="288815" y="211116"/>
                </a:lnTo>
                <a:cubicBezTo>
                  <a:pt x="294229" y="210052"/>
                  <a:pt x="298327" y="205275"/>
                  <a:pt x="298327" y="199555"/>
                </a:cubicBezTo>
                <a:lnTo>
                  <a:pt x="298327" y="186676"/>
                </a:lnTo>
                <a:cubicBezTo>
                  <a:pt x="298327" y="180178"/>
                  <a:pt x="293039" y="174890"/>
                  <a:pt x="286541" y="174890"/>
                </a:cubicBezTo>
                <a:lnTo>
                  <a:pt x="265653" y="174890"/>
                </a:lnTo>
                <a:lnTo>
                  <a:pt x="291111" y="149432"/>
                </a:lnTo>
                <a:cubicBezTo>
                  <a:pt x="293747" y="146797"/>
                  <a:pt x="293747" y="142523"/>
                  <a:pt x="291111" y="139886"/>
                </a:cubicBezTo>
                <a:close/>
                <a:moveTo>
                  <a:pt x="254091" y="278037"/>
                </a:moveTo>
                <a:lnTo>
                  <a:pt x="176222" y="278037"/>
                </a:lnTo>
                <a:lnTo>
                  <a:pt x="155692" y="211340"/>
                </a:lnTo>
                <a:lnTo>
                  <a:pt x="274620" y="211340"/>
                </a:lnTo>
                <a:close/>
                <a:moveTo>
                  <a:pt x="284826" y="197841"/>
                </a:moveTo>
                <a:lnTo>
                  <a:pt x="145486" y="197841"/>
                </a:lnTo>
                <a:lnTo>
                  <a:pt x="145486" y="188391"/>
                </a:lnTo>
                <a:lnTo>
                  <a:pt x="284827" y="188391"/>
                </a:lnTo>
                <a:lnTo>
                  <a:pt x="284827" y="197841"/>
                </a:lnTo>
                <a:close/>
                <a:moveTo>
                  <a:pt x="221906" y="227368"/>
                </a:moveTo>
                <a:lnTo>
                  <a:pt x="221906" y="257502"/>
                </a:lnTo>
                <a:cubicBezTo>
                  <a:pt x="221906" y="261230"/>
                  <a:pt x="218884" y="264252"/>
                  <a:pt x="215156" y="264252"/>
                </a:cubicBezTo>
                <a:cubicBezTo>
                  <a:pt x="211429" y="264252"/>
                  <a:pt x="208406" y="261230"/>
                  <a:pt x="208406" y="257502"/>
                </a:cubicBezTo>
                <a:lnTo>
                  <a:pt x="208406" y="227368"/>
                </a:lnTo>
                <a:cubicBezTo>
                  <a:pt x="208406" y="223640"/>
                  <a:pt x="211429" y="220618"/>
                  <a:pt x="215156" y="220618"/>
                </a:cubicBezTo>
                <a:cubicBezTo>
                  <a:pt x="218884" y="220618"/>
                  <a:pt x="221906" y="223640"/>
                  <a:pt x="221906" y="227368"/>
                </a:cubicBezTo>
                <a:close/>
                <a:moveTo>
                  <a:pt x="258492" y="229352"/>
                </a:moveTo>
                <a:lnTo>
                  <a:pt x="249220" y="259487"/>
                </a:lnTo>
                <a:cubicBezTo>
                  <a:pt x="248327" y="262389"/>
                  <a:pt x="245655" y="264253"/>
                  <a:pt x="242771" y="264253"/>
                </a:cubicBezTo>
                <a:cubicBezTo>
                  <a:pt x="242113" y="264253"/>
                  <a:pt x="241444" y="264157"/>
                  <a:pt x="240783" y="263954"/>
                </a:cubicBezTo>
                <a:cubicBezTo>
                  <a:pt x="237220" y="262857"/>
                  <a:pt x="235221" y="259080"/>
                  <a:pt x="236317" y="255517"/>
                </a:cubicBezTo>
                <a:lnTo>
                  <a:pt x="245589" y="225383"/>
                </a:lnTo>
                <a:cubicBezTo>
                  <a:pt x="246686" y="221819"/>
                  <a:pt x="250465" y="219820"/>
                  <a:pt x="254025" y="220916"/>
                </a:cubicBezTo>
                <a:cubicBezTo>
                  <a:pt x="257588" y="222013"/>
                  <a:pt x="259588" y="225790"/>
                  <a:pt x="258492" y="229352"/>
                </a:cubicBezTo>
                <a:close/>
                <a:moveTo>
                  <a:pt x="193996" y="255517"/>
                </a:moveTo>
                <a:cubicBezTo>
                  <a:pt x="195092" y="259080"/>
                  <a:pt x="193092" y="262857"/>
                  <a:pt x="189529" y="263954"/>
                </a:cubicBezTo>
                <a:cubicBezTo>
                  <a:pt x="188868" y="264157"/>
                  <a:pt x="188199" y="264253"/>
                  <a:pt x="187542" y="264253"/>
                </a:cubicBezTo>
                <a:cubicBezTo>
                  <a:pt x="184656" y="264253"/>
                  <a:pt x="181986" y="262389"/>
                  <a:pt x="181092" y="259487"/>
                </a:cubicBezTo>
                <a:lnTo>
                  <a:pt x="171820" y="229352"/>
                </a:lnTo>
                <a:cubicBezTo>
                  <a:pt x="170724" y="225789"/>
                  <a:pt x="172724" y="222013"/>
                  <a:pt x="176287" y="220916"/>
                </a:cubicBezTo>
                <a:cubicBezTo>
                  <a:pt x="179847" y="219817"/>
                  <a:pt x="183627" y="221819"/>
                  <a:pt x="184724" y="225383"/>
                </a:cubicBezTo>
                <a:close/>
              </a:path>
            </a:pathLst>
          </a:custGeom>
          <a:solidFill>
            <a:schemeClr val="accent1"/>
          </a:solidFill>
          <a:ln w="837" cap="flat">
            <a:noFill/>
            <a:prstDash val="solid"/>
            <a:miter/>
          </a:ln>
        </p:spPr>
        <p:txBody>
          <a:bodyPr rtlCol="0" anchor="ctr"/>
          <a:lstStyle/>
          <a:p>
            <a:pPr defTabSz="685739"/>
            <a:endParaRPr lang="en-GB" sz="1350" dirty="0">
              <a:solidFill>
                <a:srgbClr val="000000"/>
              </a:solidFill>
            </a:endParaRPr>
          </a:p>
        </p:txBody>
      </p:sp>
      <p:sp>
        <p:nvSpPr>
          <p:cNvPr id="74" name="Freeform: Shape 73">
            <a:extLst>
              <a:ext uri="{FF2B5EF4-FFF2-40B4-BE49-F238E27FC236}">
                <a16:creationId xmlns:a16="http://schemas.microsoft.com/office/drawing/2014/main" id="{6393D038-B1C2-043F-77D1-6869082BB49D}"/>
              </a:ext>
            </a:extLst>
          </p:cNvPr>
          <p:cNvSpPr/>
          <p:nvPr/>
        </p:nvSpPr>
        <p:spPr>
          <a:xfrm>
            <a:off x="5115796" y="2582131"/>
            <a:ext cx="340475" cy="351823"/>
          </a:xfrm>
          <a:custGeom>
            <a:avLst/>
            <a:gdLst>
              <a:gd name="connsiteX0" fmla="*/ 330749 w 404999"/>
              <a:gd name="connsiteY0" fmla="*/ 320625 h 418500"/>
              <a:gd name="connsiteX1" fmla="*/ 307124 w 404999"/>
              <a:gd name="connsiteY1" fmla="*/ 344250 h 418500"/>
              <a:gd name="connsiteX2" fmla="*/ 330749 w 404999"/>
              <a:gd name="connsiteY2" fmla="*/ 367875 h 418500"/>
              <a:gd name="connsiteX3" fmla="*/ 354374 w 404999"/>
              <a:gd name="connsiteY3" fmla="*/ 344250 h 418500"/>
              <a:gd name="connsiteX4" fmla="*/ 330749 w 404999"/>
              <a:gd name="connsiteY4" fmla="*/ 320625 h 418500"/>
              <a:gd name="connsiteX5" fmla="*/ 330749 w 404999"/>
              <a:gd name="connsiteY5" fmla="*/ 307125 h 418500"/>
              <a:gd name="connsiteX6" fmla="*/ 367874 w 404999"/>
              <a:gd name="connsiteY6" fmla="*/ 344250 h 418500"/>
              <a:gd name="connsiteX7" fmla="*/ 330749 w 404999"/>
              <a:gd name="connsiteY7" fmla="*/ 381375 h 418500"/>
              <a:gd name="connsiteX8" fmla="*/ 293624 w 404999"/>
              <a:gd name="connsiteY8" fmla="*/ 344250 h 418500"/>
              <a:gd name="connsiteX9" fmla="*/ 330749 w 404999"/>
              <a:gd name="connsiteY9" fmla="*/ 307125 h 418500"/>
              <a:gd name="connsiteX10" fmla="*/ 325225 w 404999"/>
              <a:gd name="connsiteY10" fmla="*/ 283500 h 418500"/>
              <a:gd name="connsiteX11" fmla="*/ 325225 w 404999"/>
              <a:gd name="connsiteY11" fmla="*/ 285847 h 418500"/>
              <a:gd name="connsiteX12" fmla="*/ 316089 w 404999"/>
              <a:gd name="connsiteY12" fmla="*/ 298078 h 418500"/>
              <a:gd name="connsiteX13" fmla="*/ 308492 w 404999"/>
              <a:gd name="connsiteY13" fmla="*/ 301232 h 418500"/>
              <a:gd name="connsiteX14" fmla="*/ 293363 w 404999"/>
              <a:gd name="connsiteY14" fmla="*/ 299053 h 418500"/>
              <a:gd name="connsiteX15" fmla="*/ 291696 w 404999"/>
              <a:gd name="connsiteY15" fmla="*/ 297385 h 418500"/>
              <a:gd name="connsiteX16" fmla="*/ 283884 w 404999"/>
              <a:gd name="connsiteY16" fmla="*/ 305197 h 418500"/>
              <a:gd name="connsiteX17" fmla="*/ 285552 w 404999"/>
              <a:gd name="connsiteY17" fmla="*/ 306864 h 418500"/>
              <a:gd name="connsiteX18" fmla="*/ 287731 w 404999"/>
              <a:gd name="connsiteY18" fmla="*/ 321996 h 418500"/>
              <a:gd name="connsiteX19" fmla="*/ 284577 w 404999"/>
              <a:gd name="connsiteY19" fmla="*/ 329590 h 418500"/>
              <a:gd name="connsiteX20" fmla="*/ 272346 w 404999"/>
              <a:gd name="connsiteY20" fmla="*/ 338726 h 418500"/>
              <a:gd name="connsiteX21" fmla="*/ 269999 w 404999"/>
              <a:gd name="connsiteY21" fmla="*/ 338726 h 418500"/>
              <a:gd name="connsiteX22" fmla="*/ 269999 w 404999"/>
              <a:gd name="connsiteY22" fmla="*/ 349774 h 418500"/>
              <a:gd name="connsiteX23" fmla="*/ 272346 w 404999"/>
              <a:gd name="connsiteY23" fmla="*/ 349774 h 418500"/>
              <a:gd name="connsiteX24" fmla="*/ 284577 w 404999"/>
              <a:gd name="connsiteY24" fmla="*/ 358910 h 418500"/>
              <a:gd name="connsiteX25" fmla="*/ 287731 w 404999"/>
              <a:gd name="connsiteY25" fmla="*/ 366507 h 418500"/>
              <a:gd name="connsiteX26" fmla="*/ 285552 w 404999"/>
              <a:gd name="connsiteY26" fmla="*/ 381636 h 418500"/>
              <a:gd name="connsiteX27" fmla="*/ 283884 w 404999"/>
              <a:gd name="connsiteY27" fmla="*/ 383303 h 418500"/>
              <a:gd name="connsiteX28" fmla="*/ 291696 w 404999"/>
              <a:gd name="connsiteY28" fmla="*/ 391115 h 418500"/>
              <a:gd name="connsiteX29" fmla="*/ 293363 w 404999"/>
              <a:gd name="connsiteY29" fmla="*/ 389447 h 418500"/>
              <a:gd name="connsiteX30" fmla="*/ 308495 w 404999"/>
              <a:gd name="connsiteY30" fmla="*/ 387268 h 418500"/>
              <a:gd name="connsiteX31" fmla="*/ 316089 w 404999"/>
              <a:gd name="connsiteY31" fmla="*/ 390422 h 418500"/>
              <a:gd name="connsiteX32" fmla="*/ 325225 w 404999"/>
              <a:gd name="connsiteY32" fmla="*/ 402653 h 418500"/>
              <a:gd name="connsiteX33" fmla="*/ 325225 w 404999"/>
              <a:gd name="connsiteY33" fmla="*/ 405000 h 418500"/>
              <a:gd name="connsiteX34" fmla="*/ 336273 w 404999"/>
              <a:gd name="connsiteY34" fmla="*/ 405000 h 418500"/>
              <a:gd name="connsiteX35" fmla="*/ 336273 w 404999"/>
              <a:gd name="connsiteY35" fmla="*/ 402653 h 418500"/>
              <a:gd name="connsiteX36" fmla="*/ 345409 w 404999"/>
              <a:gd name="connsiteY36" fmla="*/ 390422 h 418500"/>
              <a:gd name="connsiteX37" fmla="*/ 353006 w 404999"/>
              <a:gd name="connsiteY37" fmla="*/ 387268 h 418500"/>
              <a:gd name="connsiteX38" fmla="*/ 368135 w 404999"/>
              <a:gd name="connsiteY38" fmla="*/ 389447 h 418500"/>
              <a:gd name="connsiteX39" fmla="*/ 369802 w 404999"/>
              <a:gd name="connsiteY39" fmla="*/ 391115 h 418500"/>
              <a:gd name="connsiteX40" fmla="*/ 377614 w 404999"/>
              <a:gd name="connsiteY40" fmla="*/ 383303 h 418500"/>
              <a:gd name="connsiteX41" fmla="*/ 375946 w 404999"/>
              <a:gd name="connsiteY41" fmla="*/ 381636 h 418500"/>
              <a:gd name="connsiteX42" fmla="*/ 373767 w 404999"/>
              <a:gd name="connsiteY42" fmla="*/ 366504 h 418500"/>
              <a:gd name="connsiteX43" fmla="*/ 376921 w 404999"/>
              <a:gd name="connsiteY43" fmla="*/ 358910 h 418500"/>
              <a:gd name="connsiteX44" fmla="*/ 389152 w 404999"/>
              <a:gd name="connsiteY44" fmla="*/ 349774 h 418500"/>
              <a:gd name="connsiteX45" fmla="*/ 391499 w 404999"/>
              <a:gd name="connsiteY45" fmla="*/ 349774 h 418500"/>
              <a:gd name="connsiteX46" fmla="*/ 391499 w 404999"/>
              <a:gd name="connsiteY46" fmla="*/ 338726 h 418500"/>
              <a:gd name="connsiteX47" fmla="*/ 389152 w 404999"/>
              <a:gd name="connsiteY47" fmla="*/ 338726 h 418500"/>
              <a:gd name="connsiteX48" fmla="*/ 376921 w 404999"/>
              <a:gd name="connsiteY48" fmla="*/ 329590 h 418500"/>
              <a:gd name="connsiteX49" fmla="*/ 373767 w 404999"/>
              <a:gd name="connsiteY49" fmla="*/ 321993 h 418500"/>
              <a:gd name="connsiteX50" fmla="*/ 375946 w 404999"/>
              <a:gd name="connsiteY50" fmla="*/ 306864 h 418500"/>
              <a:gd name="connsiteX51" fmla="*/ 377614 w 404999"/>
              <a:gd name="connsiteY51" fmla="*/ 305197 h 418500"/>
              <a:gd name="connsiteX52" fmla="*/ 369802 w 404999"/>
              <a:gd name="connsiteY52" fmla="*/ 297389 h 418500"/>
              <a:gd name="connsiteX53" fmla="*/ 368135 w 404999"/>
              <a:gd name="connsiteY53" fmla="*/ 299053 h 418500"/>
              <a:gd name="connsiteX54" fmla="*/ 353003 w 404999"/>
              <a:gd name="connsiteY54" fmla="*/ 301232 h 418500"/>
              <a:gd name="connsiteX55" fmla="*/ 345409 w 404999"/>
              <a:gd name="connsiteY55" fmla="*/ 298078 h 418500"/>
              <a:gd name="connsiteX56" fmla="*/ 336273 w 404999"/>
              <a:gd name="connsiteY56" fmla="*/ 285847 h 418500"/>
              <a:gd name="connsiteX57" fmla="*/ 336273 w 404999"/>
              <a:gd name="connsiteY57" fmla="*/ 283500 h 418500"/>
              <a:gd name="connsiteX58" fmla="*/ 318475 w 404999"/>
              <a:gd name="connsiteY58" fmla="*/ 270000 h 418500"/>
              <a:gd name="connsiteX59" fmla="*/ 343023 w 404999"/>
              <a:gd name="connsiteY59" fmla="*/ 270000 h 418500"/>
              <a:gd name="connsiteX60" fmla="*/ 349773 w 404999"/>
              <a:gd name="connsiteY60" fmla="*/ 276750 h 418500"/>
              <a:gd name="connsiteX61" fmla="*/ 349773 w 404999"/>
              <a:gd name="connsiteY61" fmla="*/ 285300 h 418500"/>
              <a:gd name="connsiteX62" fmla="*/ 358975 w 404999"/>
              <a:gd name="connsiteY62" fmla="*/ 289123 h 418500"/>
              <a:gd name="connsiteX63" fmla="*/ 365030 w 404999"/>
              <a:gd name="connsiteY63" fmla="*/ 283069 h 418500"/>
              <a:gd name="connsiteX64" fmla="*/ 369802 w 404999"/>
              <a:gd name="connsiteY64" fmla="*/ 281091 h 418500"/>
              <a:gd name="connsiteX65" fmla="*/ 369805 w 404999"/>
              <a:gd name="connsiteY65" fmla="*/ 281091 h 418500"/>
              <a:gd name="connsiteX66" fmla="*/ 374581 w 404999"/>
              <a:gd name="connsiteY66" fmla="*/ 283075 h 418500"/>
              <a:gd name="connsiteX67" fmla="*/ 391931 w 404999"/>
              <a:gd name="connsiteY67" fmla="*/ 300424 h 418500"/>
              <a:gd name="connsiteX68" fmla="*/ 391934 w 404999"/>
              <a:gd name="connsiteY68" fmla="*/ 300427 h 418500"/>
              <a:gd name="connsiteX69" fmla="*/ 391931 w 404999"/>
              <a:gd name="connsiteY69" fmla="*/ 309969 h 418500"/>
              <a:gd name="connsiteX70" fmla="*/ 385876 w 404999"/>
              <a:gd name="connsiteY70" fmla="*/ 316024 h 418500"/>
              <a:gd name="connsiteX71" fmla="*/ 389699 w 404999"/>
              <a:gd name="connsiteY71" fmla="*/ 325226 h 418500"/>
              <a:gd name="connsiteX72" fmla="*/ 398249 w 404999"/>
              <a:gd name="connsiteY72" fmla="*/ 325226 h 418500"/>
              <a:gd name="connsiteX73" fmla="*/ 404999 w 404999"/>
              <a:gd name="connsiteY73" fmla="*/ 331976 h 418500"/>
              <a:gd name="connsiteX74" fmla="*/ 404999 w 404999"/>
              <a:gd name="connsiteY74" fmla="*/ 356524 h 418500"/>
              <a:gd name="connsiteX75" fmla="*/ 398249 w 404999"/>
              <a:gd name="connsiteY75" fmla="*/ 363274 h 418500"/>
              <a:gd name="connsiteX76" fmla="*/ 389699 w 404999"/>
              <a:gd name="connsiteY76" fmla="*/ 363274 h 418500"/>
              <a:gd name="connsiteX77" fmla="*/ 385876 w 404999"/>
              <a:gd name="connsiteY77" fmla="*/ 372476 h 418500"/>
              <a:gd name="connsiteX78" fmla="*/ 391931 w 404999"/>
              <a:gd name="connsiteY78" fmla="*/ 378531 h 418500"/>
              <a:gd name="connsiteX79" fmla="*/ 391934 w 404999"/>
              <a:gd name="connsiteY79" fmla="*/ 378533 h 418500"/>
              <a:gd name="connsiteX80" fmla="*/ 391931 w 404999"/>
              <a:gd name="connsiteY80" fmla="*/ 388076 h 418500"/>
              <a:gd name="connsiteX81" fmla="*/ 374575 w 404999"/>
              <a:gd name="connsiteY81" fmla="*/ 405432 h 418500"/>
              <a:gd name="connsiteX82" fmla="*/ 374573 w 404999"/>
              <a:gd name="connsiteY82" fmla="*/ 405435 h 418500"/>
              <a:gd name="connsiteX83" fmla="*/ 365030 w 404999"/>
              <a:gd name="connsiteY83" fmla="*/ 405432 h 418500"/>
              <a:gd name="connsiteX84" fmla="*/ 358975 w 404999"/>
              <a:gd name="connsiteY84" fmla="*/ 399377 h 418500"/>
              <a:gd name="connsiteX85" fmla="*/ 349773 w 404999"/>
              <a:gd name="connsiteY85" fmla="*/ 403200 h 418500"/>
              <a:gd name="connsiteX86" fmla="*/ 349773 w 404999"/>
              <a:gd name="connsiteY86" fmla="*/ 411750 h 418500"/>
              <a:gd name="connsiteX87" fmla="*/ 343023 w 404999"/>
              <a:gd name="connsiteY87" fmla="*/ 418500 h 418500"/>
              <a:gd name="connsiteX88" fmla="*/ 318475 w 404999"/>
              <a:gd name="connsiteY88" fmla="*/ 418500 h 418500"/>
              <a:gd name="connsiteX89" fmla="*/ 311725 w 404999"/>
              <a:gd name="connsiteY89" fmla="*/ 411750 h 418500"/>
              <a:gd name="connsiteX90" fmla="*/ 311725 w 404999"/>
              <a:gd name="connsiteY90" fmla="*/ 403200 h 418500"/>
              <a:gd name="connsiteX91" fmla="*/ 302523 w 404999"/>
              <a:gd name="connsiteY91" fmla="*/ 399377 h 418500"/>
              <a:gd name="connsiteX92" fmla="*/ 296468 w 404999"/>
              <a:gd name="connsiteY92" fmla="*/ 405432 h 418500"/>
              <a:gd name="connsiteX93" fmla="*/ 296466 w 404999"/>
              <a:gd name="connsiteY93" fmla="*/ 405435 h 418500"/>
              <a:gd name="connsiteX94" fmla="*/ 286923 w 404999"/>
              <a:gd name="connsiteY94" fmla="*/ 405432 h 418500"/>
              <a:gd name="connsiteX95" fmla="*/ 269567 w 404999"/>
              <a:gd name="connsiteY95" fmla="*/ 388076 h 418500"/>
              <a:gd name="connsiteX96" fmla="*/ 269564 w 404999"/>
              <a:gd name="connsiteY96" fmla="*/ 388074 h 418500"/>
              <a:gd name="connsiteX97" fmla="*/ 269567 w 404999"/>
              <a:gd name="connsiteY97" fmla="*/ 378531 h 418500"/>
              <a:gd name="connsiteX98" fmla="*/ 275622 w 404999"/>
              <a:gd name="connsiteY98" fmla="*/ 372476 h 418500"/>
              <a:gd name="connsiteX99" fmla="*/ 271799 w 404999"/>
              <a:gd name="connsiteY99" fmla="*/ 363274 h 418500"/>
              <a:gd name="connsiteX100" fmla="*/ 263249 w 404999"/>
              <a:gd name="connsiteY100" fmla="*/ 363274 h 418500"/>
              <a:gd name="connsiteX101" fmla="*/ 256499 w 404999"/>
              <a:gd name="connsiteY101" fmla="*/ 356524 h 418500"/>
              <a:gd name="connsiteX102" fmla="*/ 256499 w 404999"/>
              <a:gd name="connsiteY102" fmla="*/ 331976 h 418500"/>
              <a:gd name="connsiteX103" fmla="*/ 263249 w 404999"/>
              <a:gd name="connsiteY103" fmla="*/ 325226 h 418500"/>
              <a:gd name="connsiteX104" fmla="*/ 271799 w 404999"/>
              <a:gd name="connsiteY104" fmla="*/ 325226 h 418500"/>
              <a:gd name="connsiteX105" fmla="*/ 275622 w 404999"/>
              <a:gd name="connsiteY105" fmla="*/ 316024 h 418500"/>
              <a:gd name="connsiteX106" fmla="*/ 269567 w 404999"/>
              <a:gd name="connsiteY106" fmla="*/ 309969 h 418500"/>
              <a:gd name="connsiteX107" fmla="*/ 269564 w 404999"/>
              <a:gd name="connsiteY107" fmla="*/ 309967 h 418500"/>
              <a:gd name="connsiteX108" fmla="*/ 269567 w 404999"/>
              <a:gd name="connsiteY108" fmla="*/ 300424 h 418500"/>
              <a:gd name="connsiteX109" fmla="*/ 286923 w 404999"/>
              <a:gd name="connsiteY109" fmla="*/ 283068 h 418500"/>
              <a:gd name="connsiteX110" fmla="*/ 286926 w 404999"/>
              <a:gd name="connsiteY110" fmla="*/ 283065 h 418500"/>
              <a:gd name="connsiteX111" fmla="*/ 296468 w 404999"/>
              <a:gd name="connsiteY111" fmla="*/ 283068 h 418500"/>
              <a:gd name="connsiteX112" fmla="*/ 302523 w 404999"/>
              <a:gd name="connsiteY112" fmla="*/ 289123 h 418500"/>
              <a:gd name="connsiteX113" fmla="*/ 311725 w 404999"/>
              <a:gd name="connsiteY113" fmla="*/ 285300 h 418500"/>
              <a:gd name="connsiteX114" fmla="*/ 311725 w 404999"/>
              <a:gd name="connsiteY114" fmla="*/ 276750 h 418500"/>
              <a:gd name="connsiteX115" fmla="*/ 318475 w 404999"/>
              <a:gd name="connsiteY115" fmla="*/ 270000 h 418500"/>
              <a:gd name="connsiteX116" fmla="*/ 195749 w 404999"/>
              <a:gd name="connsiteY116" fmla="*/ 227498 h 418500"/>
              <a:gd name="connsiteX117" fmla="*/ 167124 w 404999"/>
              <a:gd name="connsiteY117" fmla="*/ 260893 h 418500"/>
              <a:gd name="connsiteX118" fmla="*/ 161999 w 404999"/>
              <a:gd name="connsiteY118" fmla="*/ 263250 h 418500"/>
              <a:gd name="connsiteX119" fmla="*/ 160565 w 404999"/>
              <a:gd name="connsiteY119" fmla="*/ 263095 h 418500"/>
              <a:gd name="connsiteX120" fmla="*/ 47249 w 404999"/>
              <a:gd name="connsiteY120" fmla="*/ 238461 h 418500"/>
              <a:gd name="connsiteX121" fmla="*/ 47249 w 404999"/>
              <a:gd name="connsiteY121" fmla="*/ 352479 h 418500"/>
              <a:gd name="connsiteX122" fmla="*/ 195749 w 404999"/>
              <a:gd name="connsiteY122" fmla="*/ 389604 h 418500"/>
              <a:gd name="connsiteX123" fmla="*/ 355455 w 404999"/>
              <a:gd name="connsiteY123" fmla="*/ 189500 h 418500"/>
              <a:gd name="connsiteX124" fmla="*/ 215346 w 404999"/>
              <a:gd name="connsiteY124" fmla="*/ 213867 h 418500"/>
              <a:gd name="connsiteX125" fmla="*/ 245500 w 404999"/>
              <a:gd name="connsiteY125" fmla="*/ 249048 h 418500"/>
              <a:gd name="connsiteX126" fmla="*/ 384732 w 404999"/>
              <a:gd name="connsiteY126" fmla="*/ 218781 h 418500"/>
              <a:gd name="connsiteX127" fmla="*/ 49543 w 404999"/>
              <a:gd name="connsiteY127" fmla="*/ 189500 h 418500"/>
              <a:gd name="connsiteX128" fmla="*/ 20265 w 404999"/>
              <a:gd name="connsiteY128" fmla="*/ 218781 h 418500"/>
              <a:gd name="connsiteX129" fmla="*/ 159497 w 404999"/>
              <a:gd name="connsiteY129" fmla="*/ 249048 h 418500"/>
              <a:gd name="connsiteX130" fmla="*/ 189651 w 404999"/>
              <a:gd name="connsiteY130" fmla="*/ 213867 h 418500"/>
              <a:gd name="connsiteX131" fmla="*/ 184126 w 404999"/>
              <a:gd name="connsiteY131" fmla="*/ 168749 h 418500"/>
              <a:gd name="connsiteX132" fmla="*/ 195749 w 404999"/>
              <a:gd name="connsiteY132" fmla="*/ 175499 h 418500"/>
              <a:gd name="connsiteX133" fmla="*/ 209249 w 404999"/>
              <a:gd name="connsiteY133" fmla="*/ 175499 h 418500"/>
              <a:gd name="connsiteX134" fmla="*/ 220872 w 404999"/>
              <a:gd name="connsiteY134" fmla="*/ 168749 h 418500"/>
              <a:gd name="connsiteX135" fmla="*/ 250991 w 404999"/>
              <a:gd name="connsiteY135" fmla="*/ 155365 h 418500"/>
              <a:gd name="connsiteX136" fmla="*/ 358991 w 404999"/>
              <a:gd name="connsiteY136" fmla="*/ 175615 h 418500"/>
              <a:gd name="connsiteX137" fmla="*/ 358982 w 404999"/>
              <a:gd name="connsiteY137" fmla="*/ 175662 h 418500"/>
              <a:gd name="connsiteX138" fmla="*/ 362521 w 404999"/>
              <a:gd name="connsiteY138" fmla="*/ 177477 h 418500"/>
              <a:gd name="connsiteX139" fmla="*/ 403021 w 404999"/>
              <a:gd name="connsiteY139" fmla="*/ 217977 h 418500"/>
              <a:gd name="connsiteX140" fmla="*/ 404844 w 404999"/>
              <a:gd name="connsiteY140" fmla="*/ 221317 h 418500"/>
              <a:gd name="connsiteX141" fmla="*/ 399682 w 404999"/>
              <a:gd name="connsiteY141" fmla="*/ 229345 h 418500"/>
              <a:gd name="connsiteX142" fmla="*/ 371249 w 404999"/>
              <a:gd name="connsiteY142" fmla="*/ 235526 h 418500"/>
              <a:gd name="connsiteX143" fmla="*/ 371249 w 404999"/>
              <a:gd name="connsiteY143" fmla="*/ 270000 h 418500"/>
              <a:gd name="connsiteX144" fmla="*/ 357749 w 404999"/>
              <a:gd name="connsiteY144" fmla="*/ 270000 h 418500"/>
              <a:gd name="connsiteX145" fmla="*/ 357749 w 404999"/>
              <a:gd name="connsiteY145" fmla="*/ 238461 h 418500"/>
              <a:gd name="connsiteX146" fmla="*/ 244432 w 404999"/>
              <a:gd name="connsiteY146" fmla="*/ 263094 h 418500"/>
              <a:gd name="connsiteX147" fmla="*/ 242999 w 404999"/>
              <a:gd name="connsiteY147" fmla="*/ 263250 h 418500"/>
              <a:gd name="connsiteX148" fmla="*/ 237873 w 404999"/>
              <a:gd name="connsiteY148" fmla="*/ 260893 h 418500"/>
              <a:gd name="connsiteX149" fmla="*/ 209249 w 404999"/>
              <a:gd name="connsiteY149" fmla="*/ 227498 h 418500"/>
              <a:gd name="connsiteX150" fmla="*/ 209249 w 404999"/>
              <a:gd name="connsiteY150" fmla="*/ 389604 h 418500"/>
              <a:gd name="connsiteX151" fmla="*/ 254860 w 404999"/>
              <a:gd name="connsiteY151" fmla="*/ 378201 h 418500"/>
              <a:gd name="connsiteX152" fmla="*/ 258137 w 404999"/>
              <a:gd name="connsiteY152" fmla="*/ 391298 h 418500"/>
              <a:gd name="connsiteX153" fmla="*/ 204137 w 404999"/>
              <a:gd name="connsiteY153" fmla="*/ 404798 h 418500"/>
              <a:gd name="connsiteX154" fmla="*/ 204119 w 404999"/>
              <a:gd name="connsiteY154" fmla="*/ 404730 h 418500"/>
              <a:gd name="connsiteX155" fmla="*/ 200860 w 404999"/>
              <a:gd name="connsiteY155" fmla="*/ 404798 h 418500"/>
              <a:gd name="connsiteX156" fmla="*/ 38861 w 404999"/>
              <a:gd name="connsiteY156" fmla="*/ 364298 h 418500"/>
              <a:gd name="connsiteX157" fmla="*/ 33749 w 404999"/>
              <a:gd name="connsiteY157" fmla="*/ 357750 h 418500"/>
              <a:gd name="connsiteX158" fmla="*/ 33749 w 404999"/>
              <a:gd name="connsiteY158" fmla="*/ 235526 h 418500"/>
              <a:gd name="connsiteX159" fmla="*/ 5315 w 404999"/>
              <a:gd name="connsiteY159" fmla="*/ 229345 h 418500"/>
              <a:gd name="connsiteX160" fmla="*/ 1975 w 404999"/>
              <a:gd name="connsiteY160" fmla="*/ 227521 h 418500"/>
              <a:gd name="connsiteX161" fmla="*/ 1976 w 404999"/>
              <a:gd name="connsiteY161" fmla="*/ 217977 h 418500"/>
              <a:gd name="connsiteX162" fmla="*/ 42476 w 404999"/>
              <a:gd name="connsiteY162" fmla="*/ 177477 h 418500"/>
              <a:gd name="connsiteX163" fmla="*/ 46015 w 404999"/>
              <a:gd name="connsiteY163" fmla="*/ 175663 h 418500"/>
              <a:gd name="connsiteX164" fmla="*/ 46006 w 404999"/>
              <a:gd name="connsiteY164" fmla="*/ 175616 h 418500"/>
              <a:gd name="connsiteX165" fmla="*/ 154007 w 404999"/>
              <a:gd name="connsiteY165" fmla="*/ 155366 h 418500"/>
              <a:gd name="connsiteX166" fmla="*/ 156491 w 404999"/>
              <a:gd name="connsiteY166" fmla="*/ 168635 h 418500"/>
              <a:gd name="connsiteX167" fmla="*/ 85211 w 404999"/>
              <a:gd name="connsiteY167" fmla="*/ 182000 h 418500"/>
              <a:gd name="connsiteX168" fmla="*/ 202499 w 404999"/>
              <a:gd name="connsiteY168" fmla="*/ 202398 h 418500"/>
              <a:gd name="connsiteX169" fmla="*/ 319787 w 404999"/>
              <a:gd name="connsiteY169" fmla="*/ 182000 h 418500"/>
              <a:gd name="connsiteX170" fmla="*/ 248506 w 404999"/>
              <a:gd name="connsiteY170" fmla="*/ 168635 h 418500"/>
              <a:gd name="connsiteX171" fmla="*/ 182249 w 404999"/>
              <a:gd name="connsiteY171" fmla="*/ 148499 h 418500"/>
              <a:gd name="connsiteX172" fmla="*/ 182249 w 404999"/>
              <a:gd name="connsiteY172" fmla="*/ 155249 h 418500"/>
              <a:gd name="connsiteX173" fmla="*/ 222749 w 404999"/>
              <a:gd name="connsiteY173" fmla="*/ 155249 h 418500"/>
              <a:gd name="connsiteX174" fmla="*/ 222749 w 404999"/>
              <a:gd name="connsiteY174" fmla="*/ 148499 h 418500"/>
              <a:gd name="connsiteX175" fmla="*/ 269999 w 404999"/>
              <a:gd name="connsiteY175" fmla="*/ 81000 h 418500"/>
              <a:gd name="connsiteX176" fmla="*/ 290249 w 404999"/>
              <a:gd name="connsiteY176" fmla="*/ 81000 h 418500"/>
              <a:gd name="connsiteX177" fmla="*/ 290249 w 404999"/>
              <a:gd name="connsiteY177" fmla="*/ 94500 h 418500"/>
              <a:gd name="connsiteX178" fmla="*/ 269999 w 404999"/>
              <a:gd name="connsiteY178" fmla="*/ 94500 h 418500"/>
              <a:gd name="connsiteX179" fmla="*/ 114749 w 404999"/>
              <a:gd name="connsiteY179" fmla="*/ 81000 h 418500"/>
              <a:gd name="connsiteX180" fmla="*/ 134999 w 404999"/>
              <a:gd name="connsiteY180" fmla="*/ 81000 h 418500"/>
              <a:gd name="connsiteX181" fmla="*/ 134999 w 404999"/>
              <a:gd name="connsiteY181" fmla="*/ 94500 h 418500"/>
              <a:gd name="connsiteX182" fmla="*/ 114749 w 404999"/>
              <a:gd name="connsiteY182" fmla="*/ 94500 h 418500"/>
              <a:gd name="connsiteX183" fmla="*/ 202532 w 404999"/>
              <a:gd name="connsiteY183" fmla="*/ 40496 h 418500"/>
              <a:gd name="connsiteX184" fmla="*/ 197100 w 404999"/>
              <a:gd name="connsiteY184" fmla="*/ 40806 h 418500"/>
              <a:gd name="connsiteX185" fmla="*/ 155486 w 404999"/>
              <a:gd name="connsiteY185" fmla="*/ 84173 h 418500"/>
              <a:gd name="connsiteX186" fmla="*/ 172183 w 404999"/>
              <a:gd name="connsiteY186" fmla="*/ 126301 h 418500"/>
              <a:gd name="connsiteX187" fmla="*/ 178904 w 404999"/>
              <a:gd name="connsiteY187" fmla="*/ 134999 h 418500"/>
              <a:gd name="connsiteX188" fmla="*/ 195749 w 404999"/>
              <a:gd name="connsiteY188" fmla="*/ 134999 h 418500"/>
              <a:gd name="connsiteX189" fmla="*/ 195749 w 404999"/>
              <a:gd name="connsiteY189" fmla="*/ 124874 h 418500"/>
              <a:gd name="connsiteX190" fmla="*/ 175268 w 404999"/>
              <a:gd name="connsiteY190" fmla="*/ 109512 h 418500"/>
              <a:gd name="connsiteX191" fmla="*/ 168749 w 404999"/>
              <a:gd name="connsiteY191" fmla="*/ 96477 h 418500"/>
              <a:gd name="connsiteX192" fmla="*/ 168749 w 404999"/>
              <a:gd name="connsiteY192" fmla="*/ 90545 h 418500"/>
              <a:gd name="connsiteX193" fmla="*/ 173522 w 404999"/>
              <a:gd name="connsiteY193" fmla="*/ 79022 h 418500"/>
              <a:gd name="connsiteX194" fmla="*/ 196566 w 404999"/>
              <a:gd name="connsiteY194" fmla="*/ 79022 h 418500"/>
              <a:gd name="connsiteX195" fmla="*/ 200522 w 404999"/>
              <a:gd name="connsiteY195" fmla="*/ 82977 h 418500"/>
              <a:gd name="connsiteX196" fmla="*/ 204476 w 404999"/>
              <a:gd name="connsiteY196" fmla="*/ 82977 h 418500"/>
              <a:gd name="connsiteX197" fmla="*/ 208431 w 404999"/>
              <a:gd name="connsiteY197" fmla="*/ 79022 h 418500"/>
              <a:gd name="connsiteX198" fmla="*/ 219953 w 404999"/>
              <a:gd name="connsiteY198" fmla="*/ 74250 h 418500"/>
              <a:gd name="connsiteX199" fmla="*/ 236249 w 404999"/>
              <a:gd name="connsiteY199" fmla="*/ 90545 h 418500"/>
              <a:gd name="connsiteX200" fmla="*/ 236249 w 404999"/>
              <a:gd name="connsiteY200" fmla="*/ 96477 h 418500"/>
              <a:gd name="connsiteX201" fmla="*/ 229726 w 404999"/>
              <a:gd name="connsiteY201" fmla="*/ 109515 h 418500"/>
              <a:gd name="connsiteX202" fmla="*/ 220049 w 404999"/>
              <a:gd name="connsiteY202" fmla="*/ 116773 h 418500"/>
              <a:gd name="connsiteX203" fmla="*/ 211948 w 404999"/>
              <a:gd name="connsiteY203" fmla="*/ 105976 h 418500"/>
              <a:gd name="connsiteX204" fmla="*/ 221628 w 404999"/>
              <a:gd name="connsiteY204" fmla="*/ 98715 h 418500"/>
              <a:gd name="connsiteX205" fmla="*/ 222748 w 404999"/>
              <a:gd name="connsiteY205" fmla="*/ 96477 h 418500"/>
              <a:gd name="connsiteX206" fmla="*/ 222748 w 404999"/>
              <a:gd name="connsiteY206" fmla="*/ 90545 h 418500"/>
              <a:gd name="connsiteX207" fmla="*/ 222069 w 404999"/>
              <a:gd name="connsiteY207" fmla="*/ 88904 h 418500"/>
              <a:gd name="connsiteX208" fmla="*/ 217976 w 404999"/>
              <a:gd name="connsiteY208" fmla="*/ 88567 h 418500"/>
              <a:gd name="connsiteX209" fmla="*/ 214021 w 404999"/>
              <a:gd name="connsiteY209" fmla="*/ 92522 h 418500"/>
              <a:gd name="connsiteX210" fmla="*/ 190976 w 404999"/>
              <a:gd name="connsiteY210" fmla="*/ 92522 h 418500"/>
              <a:gd name="connsiteX211" fmla="*/ 187021 w 404999"/>
              <a:gd name="connsiteY211" fmla="*/ 88567 h 418500"/>
              <a:gd name="connsiteX212" fmla="*/ 185379 w 404999"/>
              <a:gd name="connsiteY212" fmla="*/ 87887 h 418500"/>
              <a:gd name="connsiteX213" fmla="*/ 182249 w 404999"/>
              <a:gd name="connsiteY213" fmla="*/ 90545 h 418500"/>
              <a:gd name="connsiteX214" fmla="*/ 182249 w 404999"/>
              <a:gd name="connsiteY214" fmla="*/ 96477 h 418500"/>
              <a:gd name="connsiteX215" fmla="*/ 183366 w 404999"/>
              <a:gd name="connsiteY215" fmla="*/ 98711 h 418500"/>
              <a:gd name="connsiteX216" fmla="*/ 206549 w 404999"/>
              <a:gd name="connsiteY216" fmla="*/ 116101 h 418500"/>
              <a:gd name="connsiteX217" fmla="*/ 209249 w 404999"/>
              <a:gd name="connsiteY217" fmla="*/ 121499 h 418500"/>
              <a:gd name="connsiteX218" fmla="*/ 209249 w 404999"/>
              <a:gd name="connsiteY218" fmla="*/ 134999 h 418500"/>
              <a:gd name="connsiteX219" fmla="*/ 226055 w 404999"/>
              <a:gd name="connsiteY219" fmla="*/ 134999 h 418500"/>
              <a:gd name="connsiteX220" fmla="*/ 232686 w 404999"/>
              <a:gd name="connsiteY220" fmla="*/ 126407 h 418500"/>
              <a:gd name="connsiteX221" fmla="*/ 236998 w 404999"/>
              <a:gd name="connsiteY221" fmla="*/ 122184 h 418500"/>
              <a:gd name="connsiteX222" fmla="*/ 233460 w 404999"/>
              <a:gd name="connsiteY222" fmla="*/ 52384 h 418500"/>
              <a:gd name="connsiteX223" fmla="*/ 202532 w 404999"/>
              <a:gd name="connsiteY223" fmla="*/ 40496 h 418500"/>
              <a:gd name="connsiteX224" fmla="*/ 195577 w 404999"/>
              <a:gd name="connsiteY224" fmla="*/ 27391 h 418500"/>
              <a:gd name="connsiteX225" fmla="*/ 242455 w 404999"/>
              <a:gd name="connsiteY225" fmla="*/ 42315 h 418500"/>
              <a:gd name="connsiteX226" fmla="*/ 247942 w 404999"/>
              <a:gd name="connsiteY226" fmla="*/ 47920 h 418500"/>
              <a:gd name="connsiteX227" fmla="*/ 241460 w 404999"/>
              <a:gd name="connsiteY227" fmla="*/ 136671 h 418500"/>
              <a:gd name="connsiteX228" fmla="*/ 236249 w 404999"/>
              <a:gd name="connsiteY228" fmla="*/ 148331 h 418500"/>
              <a:gd name="connsiteX229" fmla="*/ 236249 w 404999"/>
              <a:gd name="connsiteY229" fmla="*/ 161999 h 418500"/>
              <a:gd name="connsiteX230" fmla="*/ 209249 w 404999"/>
              <a:gd name="connsiteY230" fmla="*/ 188999 h 418500"/>
              <a:gd name="connsiteX231" fmla="*/ 195749 w 404999"/>
              <a:gd name="connsiteY231" fmla="*/ 188999 h 418500"/>
              <a:gd name="connsiteX232" fmla="*/ 168749 w 404999"/>
              <a:gd name="connsiteY232" fmla="*/ 161999 h 418500"/>
              <a:gd name="connsiteX233" fmla="*/ 168749 w 404999"/>
              <a:gd name="connsiteY233" fmla="*/ 148335 h 418500"/>
              <a:gd name="connsiteX234" fmla="*/ 163376 w 404999"/>
              <a:gd name="connsiteY234" fmla="*/ 136532 h 418500"/>
              <a:gd name="connsiteX235" fmla="*/ 142046 w 404999"/>
              <a:gd name="connsiteY235" fmla="*/ 82891 h 418500"/>
              <a:gd name="connsiteX236" fmla="*/ 195577 w 404999"/>
              <a:gd name="connsiteY236" fmla="*/ 27391 h 418500"/>
              <a:gd name="connsiteX237" fmla="*/ 145222 w 404999"/>
              <a:gd name="connsiteY237" fmla="*/ 20928 h 418500"/>
              <a:gd name="connsiteX238" fmla="*/ 159540 w 404999"/>
              <a:gd name="connsiteY238" fmla="*/ 35246 h 418500"/>
              <a:gd name="connsiteX239" fmla="*/ 149995 w 404999"/>
              <a:gd name="connsiteY239" fmla="*/ 44791 h 418500"/>
              <a:gd name="connsiteX240" fmla="*/ 135677 w 404999"/>
              <a:gd name="connsiteY240" fmla="*/ 30473 h 418500"/>
              <a:gd name="connsiteX241" fmla="*/ 259776 w 404999"/>
              <a:gd name="connsiteY241" fmla="*/ 20928 h 418500"/>
              <a:gd name="connsiteX242" fmla="*/ 269321 w 404999"/>
              <a:gd name="connsiteY242" fmla="*/ 30473 h 418500"/>
              <a:gd name="connsiteX243" fmla="*/ 255003 w 404999"/>
              <a:gd name="connsiteY243" fmla="*/ 44790 h 418500"/>
              <a:gd name="connsiteX244" fmla="*/ 245458 w 404999"/>
              <a:gd name="connsiteY244" fmla="*/ 35245 h 418500"/>
              <a:gd name="connsiteX245" fmla="*/ 195749 w 404999"/>
              <a:gd name="connsiteY245" fmla="*/ 0 h 418500"/>
              <a:gd name="connsiteX246" fmla="*/ 209249 w 404999"/>
              <a:gd name="connsiteY246" fmla="*/ 0 h 418500"/>
              <a:gd name="connsiteX247" fmla="*/ 209249 w 404999"/>
              <a:gd name="connsiteY247" fmla="*/ 20250 h 418500"/>
              <a:gd name="connsiteX248" fmla="*/ 195749 w 404999"/>
              <a:gd name="connsiteY248" fmla="*/ 20250 h 418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</a:cxnLst>
            <a:rect l="l" t="t" r="r" b="b"/>
            <a:pathLst>
              <a:path w="404999" h="418500">
                <a:moveTo>
                  <a:pt x="330749" y="320625"/>
                </a:moveTo>
                <a:cubicBezTo>
                  <a:pt x="317701" y="320625"/>
                  <a:pt x="307124" y="331202"/>
                  <a:pt x="307124" y="344250"/>
                </a:cubicBezTo>
                <a:cubicBezTo>
                  <a:pt x="307124" y="357298"/>
                  <a:pt x="317701" y="367875"/>
                  <a:pt x="330749" y="367875"/>
                </a:cubicBezTo>
                <a:cubicBezTo>
                  <a:pt x="343790" y="367859"/>
                  <a:pt x="354358" y="357291"/>
                  <a:pt x="354374" y="344250"/>
                </a:cubicBezTo>
                <a:cubicBezTo>
                  <a:pt x="354374" y="331202"/>
                  <a:pt x="343797" y="320625"/>
                  <a:pt x="330749" y="320625"/>
                </a:cubicBezTo>
                <a:close/>
                <a:moveTo>
                  <a:pt x="330749" y="307125"/>
                </a:moveTo>
                <a:cubicBezTo>
                  <a:pt x="351243" y="307148"/>
                  <a:pt x="367851" y="323756"/>
                  <a:pt x="367874" y="344250"/>
                </a:cubicBezTo>
                <a:cubicBezTo>
                  <a:pt x="367874" y="364754"/>
                  <a:pt x="351253" y="381375"/>
                  <a:pt x="330749" y="381375"/>
                </a:cubicBezTo>
                <a:cubicBezTo>
                  <a:pt x="310245" y="381375"/>
                  <a:pt x="293624" y="364754"/>
                  <a:pt x="293624" y="344250"/>
                </a:cubicBezTo>
                <a:cubicBezTo>
                  <a:pt x="293624" y="323746"/>
                  <a:pt x="310245" y="307125"/>
                  <a:pt x="330749" y="307125"/>
                </a:cubicBezTo>
                <a:close/>
                <a:moveTo>
                  <a:pt x="325225" y="283500"/>
                </a:moveTo>
                <a:lnTo>
                  <a:pt x="325225" y="285847"/>
                </a:lnTo>
                <a:cubicBezTo>
                  <a:pt x="325183" y="291483"/>
                  <a:pt x="321481" y="296438"/>
                  <a:pt x="316089" y="298078"/>
                </a:cubicBezTo>
                <a:cubicBezTo>
                  <a:pt x="313472" y="298912"/>
                  <a:pt x="310930" y="299967"/>
                  <a:pt x="308492" y="301232"/>
                </a:cubicBezTo>
                <a:cubicBezTo>
                  <a:pt x="303517" y="303902"/>
                  <a:pt x="297383" y="303018"/>
                  <a:pt x="293363" y="299053"/>
                </a:cubicBezTo>
                <a:lnTo>
                  <a:pt x="291696" y="297385"/>
                </a:lnTo>
                <a:lnTo>
                  <a:pt x="283884" y="305197"/>
                </a:lnTo>
                <a:lnTo>
                  <a:pt x="285552" y="306864"/>
                </a:lnTo>
                <a:cubicBezTo>
                  <a:pt x="289515" y="310887"/>
                  <a:pt x="290398" y="317020"/>
                  <a:pt x="287731" y="321996"/>
                </a:cubicBezTo>
                <a:cubicBezTo>
                  <a:pt x="286465" y="324433"/>
                  <a:pt x="285410" y="326973"/>
                  <a:pt x="284577" y="329590"/>
                </a:cubicBezTo>
                <a:cubicBezTo>
                  <a:pt x="282937" y="334983"/>
                  <a:pt x="277982" y="338684"/>
                  <a:pt x="272346" y="338726"/>
                </a:cubicBezTo>
                <a:lnTo>
                  <a:pt x="269999" y="338726"/>
                </a:lnTo>
                <a:lnTo>
                  <a:pt x="269999" y="349774"/>
                </a:lnTo>
                <a:lnTo>
                  <a:pt x="272346" y="349774"/>
                </a:lnTo>
                <a:cubicBezTo>
                  <a:pt x="277982" y="349816"/>
                  <a:pt x="282937" y="353518"/>
                  <a:pt x="284577" y="358910"/>
                </a:cubicBezTo>
                <a:cubicBezTo>
                  <a:pt x="285411" y="361527"/>
                  <a:pt x="286466" y="364069"/>
                  <a:pt x="287731" y="366507"/>
                </a:cubicBezTo>
                <a:cubicBezTo>
                  <a:pt x="290398" y="371483"/>
                  <a:pt x="289515" y="377615"/>
                  <a:pt x="285552" y="381636"/>
                </a:cubicBezTo>
                <a:lnTo>
                  <a:pt x="283884" y="383303"/>
                </a:lnTo>
                <a:lnTo>
                  <a:pt x="291696" y="391115"/>
                </a:lnTo>
                <a:lnTo>
                  <a:pt x="293363" y="389447"/>
                </a:lnTo>
                <a:cubicBezTo>
                  <a:pt x="297384" y="385482"/>
                  <a:pt x="303519" y="384599"/>
                  <a:pt x="308495" y="387268"/>
                </a:cubicBezTo>
                <a:cubicBezTo>
                  <a:pt x="310932" y="388534"/>
                  <a:pt x="313472" y="389589"/>
                  <a:pt x="316089" y="390422"/>
                </a:cubicBezTo>
                <a:cubicBezTo>
                  <a:pt x="321482" y="392062"/>
                  <a:pt x="325183" y="397017"/>
                  <a:pt x="325225" y="402653"/>
                </a:cubicBezTo>
                <a:lnTo>
                  <a:pt x="325225" y="405000"/>
                </a:lnTo>
                <a:lnTo>
                  <a:pt x="336273" y="405000"/>
                </a:lnTo>
                <a:lnTo>
                  <a:pt x="336273" y="402653"/>
                </a:lnTo>
                <a:cubicBezTo>
                  <a:pt x="336315" y="397017"/>
                  <a:pt x="340016" y="392062"/>
                  <a:pt x="345409" y="390422"/>
                </a:cubicBezTo>
                <a:cubicBezTo>
                  <a:pt x="348026" y="389588"/>
                  <a:pt x="350568" y="388533"/>
                  <a:pt x="353006" y="387268"/>
                </a:cubicBezTo>
                <a:cubicBezTo>
                  <a:pt x="357981" y="384597"/>
                  <a:pt x="364116" y="385480"/>
                  <a:pt x="368135" y="389447"/>
                </a:cubicBezTo>
                <a:lnTo>
                  <a:pt x="369802" y="391115"/>
                </a:lnTo>
                <a:lnTo>
                  <a:pt x="377614" y="383303"/>
                </a:lnTo>
                <a:lnTo>
                  <a:pt x="375946" y="381636"/>
                </a:lnTo>
                <a:cubicBezTo>
                  <a:pt x="371983" y="377613"/>
                  <a:pt x="371100" y="371480"/>
                  <a:pt x="373767" y="366504"/>
                </a:cubicBezTo>
                <a:cubicBezTo>
                  <a:pt x="375032" y="364067"/>
                  <a:pt x="376088" y="361527"/>
                  <a:pt x="376921" y="358910"/>
                </a:cubicBezTo>
                <a:cubicBezTo>
                  <a:pt x="378561" y="353517"/>
                  <a:pt x="383516" y="349816"/>
                  <a:pt x="389152" y="349774"/>
                </a:cubicBezTo>
                <a:lnTo>
                  <a:pt x="391499" y="349774"/>
                </a:lnTo>
                <a:lnTo>
                  <a:pt x="391499" y="338726"/>
                </a:lnTo>
                <a:lnTo>
                  <a:pt x="389152" y="338726"/>
                </a:lnTo>
                <a:cubicBezTo>
                  <a:pt x="383516" y="338684"/>
                  <a:pt x="378561" y="334982"/>
                  <a:pt x="376921" y="329590"/>
                </a:cubicBezTo>
                <a:cubicBezTo>
                  <a:pt x="376087" y="326973"/>
                  <a:pt x="375032" y="324431"/>
                  <a:pt x="373767" y="321993"/>
                </a:cubicBezTo>
                <a:cubicBezTo>
                  <a:pt x="371100" y="317017"/>
                  <a:pt x="371983" y="310885"/>
                  <a:pt x="375946" y="306864"/>
                </a:cubicBezTo>
                <a:lnTo>
                  <a:pt x="377614" y="305197"/>
                </a:lnTo>
                <a:lnTo>
                  <a:pt x="369802" y="297389"/>
                </a:lnTo>
                <a:lnTo>
                  <a:pt x="368135" y="299053"/>
                </a:lnTo>
                <a:cubicBezTo>
                  <a:pt x="364112" y="303014"/>
                  <a:pt x="357980" y="303897"/>
                  <a:pt x="353003" y="301232"/>
                </a:cubicBezTo>
                <a:cubicBezTo>
                  <a:pt x="350566" y="299966"/>
                  <a:pt x="348026" y="298911"/>
                  <a:pt x="345409" y="298078"/>
                </a:cubicBezTo>
                <a:cubicBezTo>
                  <a:pt x="340016" y="296438"/>
                  <a:pt x="336315" y="291483"/>
                  <a:pt x="336273" y="285847"/>
                </a:cubicBezTo>
                <a:lnTo>
                  <a:pt x="336273" y="283500"/>
                </a:lnTo>
                <a:close/>
                <a:moveTo>
                  <a:pt x="318475" y="270000"/>
                </a:moveTo>
                <a:lnTo>
                  <a:pt x="343023" y="270000"/>
                </a:lnTo>
                <a:cubicBezTo>
                  <a:pt x="346751" y="270000"/>
                  <a:pt x="349773" y="273022"/>
                  <a:pt x="349773" y="276750"/>
                </a:cubicBezTo>
                <a:lnTo>
                  <a:pt x="349773" y="285300"/>
                </a:lnTo>
                <a:cubicBezTo>
                  <a:pt x="352938" y="286324"/>
                  <a:pt x="356016" y="287602"/>
                  <a:pt x="358975" y="289123"/>
                </a:cubicBezTo>
                <a:lnTo>
                  <a:pt x="365030" y="283069"/>
                </a:lnTo>
                <a:cubicBezTo>
                  <a:pt x="366295" y="281802"/>
                  <a:pt x="368012" y="281091"/>
                  <a:pt x="369802" y="281091"/>
                </a:cubicBezTo>
                <a:lnTo>
                  <a:pt x="369805" y="281091"/>
                </a:lnTo>
                <a:cubicBezTo>
                  <a:pt x="371598" y="281092"/>
                  <a:pt x="373316" y="281805"/>
                  <a:pt x="374581" y="283075"/>
                </a:cubicBezTo>
                <a:lnTo>
                  <a:pt x="391931" y="300424"/>
                </a:lnTo>
                <a:cubicBezTo>
                  <a:pt x="391932" y="300425"/>
                  <a:pt x="391932" y="300426"/>
                  <a:pt x="391934" y="300427"/>
                </a:cubicBezTo>
                <a:cubicBezTo>
                  <a:pt x="394568" y="303062"/>
                  <a:pt x="394567" y="307335"/>
                  <a:pt x="391931" y="309969"/>
                </a:cubicBezTo>
                <a:lnTo>
                  <a:pt x="385876" y="316024"/>
                </a:lnTo>
                <a:cubicBezTo>
                  <a:pt x="387398" y="318983"/>
                  <a:pt x="388676" y="322060"/>
                  <a:pt x="389699" y="325226"/>
                </a:cubicBezTo>
                <a:lnTo>
                  <a:pt x="398249" y="325226"/>
                </a:lnTo>
                <a:cubicBezTo>
                  <a:pt x="401977" y="325226"/>
                  <a:pt x="404999" y="328248"/>
                  <a:pt x="404999" y="331976"/>
                </a:cubicBezTo>
                <a:lnTo>
                  <a:pt x="404999" y="356524"/>
                </a:lnTo>
                <a:cubicBezTo>
                  <a:pt x="404999" y="360252"/>
                  <a:pt x="401977" y="363274"/>
                  <a:pt x="398249" y="363274"/>
                </a:cubicBezTo>
                <a:lnTo>
                  <a:pt x="389699" y="363274"/>
                </a:lnTo>
                <a:cubicBezTo>
                  <a:pt x="388676" y="366439"/>
                  <a:pt x="387397" y="369517"/>
                  <a:pt x="385876" y="372476"/>
                </a:cubicBezTo>
                <a:lnTo>
                  <a:pt x="391931" y="378531"/>
                </a:lnTo>
                <a:cubicBezTo>
                  <a:pt x="391932" y="378531"/>
                  <a:pt x="391932" y="378533"/>
                  <a:pt x="391934" y="378533"/>
                </a:cubicBezTo>
                <a:cubicBezTo>
                  <a:pt x="394568" y="381169"/>
                  <a:pt x="394567" y="385441"/>
                  <a:pt x="391931" y="388076"/>
                </a:cubicBezTo>
                <a:lnTo>
                  <a:pt x="374575" y="405432"/>
                </a:lnTo>
                <a:cubicBezTo>
                  <a:pt x="374574" y="405433"/>
                  <a:pt x="374573" y="405433"/>
                  <a:pt x="374573" y="405435"/>
                </a:cubicBezTo>
                <a:cubicBezTo>
                  <a:pt x="371937" y="408069"/>
                  <a:pt x="367665" y="408068"/>
                  <a:pt x="365030" y="405432"/>
                </a:cubicBezTo>
                <a:lnTo>
                  <a:pt x="358975" y="399377"/>
                </a:lnTo>
                <a:cubicBezTo>
                  <a:pt x="356016" y="400899"/>
                  <a:pt x="352939" y="402177"/>
                  <a:pt x="349773" y="403200"/>
                </a:cubicBezTo>
                <a:lnTo>
                  <a:pt x="349773" y="411750"/>
                </a:lnTo>
                <a:cubicBezTo>
                  <a:pt x="349773" y="415478"/>
                  <a:pt x="346751" y="418500"/>
                  <a:pt x="343023" y="418500"/>
                </a:cubicBezTo>
                <a:lnTo>
                  <a:pt x="318475" y="418500"/>
                </a:lnTo>
                <a:cubicBezTo>
                  <a:pt x="314747" y="418500"/>
                  <a:pt x="311725" y="415478"/>
                  <a:pt x="311725" y="411750"/>
                </a:cubicBezTo>
                <a:lnTo>
                  <a:pt x="311725" y="403200"/>
                </a:lnTo>
                <a:cubicBezTo>
                  <a:pt x="308560" y="402177"/>
                  <a:pt x="305482" y="400898"/>
                  <a:pt x="302523" y="399377"/>
                </a:cubicBezTo>
                <a:lnTo>
                  <a:pt x="296468" y="405432"/>
                </a:lnTo>
                <a:cubicBezTo>
                  <a:pt x="296468" y="405433"/>
                  <a:pt x="296466" y="405433"/>
                  <a:pt x="296466" y="405435"/>
                </a:cubicBezTo>
                <a:cubicBezTo>
                  <a:pt x="293830" y="408069"/>
                  <a:pt x="289558" y="408068"/>
                  <a:pt x="286923" y="405432"/>
                </a:cubicBezTo>
                <a:lnTo>
                  <a:pt x="269567" y="388076"/>
                </a:lnTo>
                <a:cubicBezTo>
                  <a:pt x="269566" y="388075"/>
                  <a:pt x="269566" y="388074"/>
                  <a:pt x="269564" y="388074"/>
                </a:cubicBezTo>
                <a:cubicBezTo>
                  <a:pt x="266930" y="385438"/>
                  <a:pt x="266931" y="381166"/>
                  <a:pt x="269567" y="378531"/>
                </a:cubicBezTo>
                <a:lnTo>
                  <a:pt x="275622" y="372476"/>
                </a:lnTo>
                <a:cubicBezTo>
                  <a:pt x="274100" y="369517"/>
                  <a:pt x="272822" y="366440"/>
                  <a:pt x="271799" y="363274"/>
                </a:cubicBezTo>
                <a:lnTo>
                  <a:pt x="263249" y="363274"/>
                </a:lnTo>
                <a:cubicBezTo>
                  <a:pt x="259521" y="363274"/>
                  <a:pt x="256499" y="360252"/>
                  <a:pt x="256499" y="356524"/>
                </a:cubicBezTo>
                <a:lnTo>
                  <a:pt x="256499" y="331976"/>
                </a:lnTo>
                <a:cubicBezTo>
                  <a:pt x="256499" y="328248"/>
                  <a:pt x="259521" y="325226"/>
                  <a:pt x="263249" y="325226"/>
                </a:cubicBezTo>
                <a:lnTo>
                  <a:pt x="271799" y="325226"/>
                </a:lnTo>
                <a:cubicBezTo>
                  <a:pt x="272822" y="322061"/>
                  <a:pt x="274101" y="318983"/>
                  <a:pt x="275622" y="316024"/>
                </a:cubicBezTo>
                <a:lnTo>
                  <a:pt x="269567" y="309969"/>
                </a:lnTo>
                <a:cubicBezTo>
                  <a:pt x="269566" y="309969"/>
                  <a:pt x="269566" y="309967"/>
                  <a:pt x="269564" y="309967"/>
                </a:cubicBezTo>
                <a:cubicBezTo>
                  <a:pt x="266930" y="307331"/>
                  <a:pt x="266931" y="303059"/>
                  <a:pt x="269567" y="300424"/>
                </a:cubicBezTo>
                <a:lnTo>
                  <a:pt x="286923" y="283068"/>
                </a:lnTo>
                <a:cubicBezTo>
                  <a:pt x="286924" y="283067"/>
                  <a:pt x="286925" y="283067"/>
                  <a:pt x="286926" y="283065"/>
                </a:cubicBezTo>
                <a:cubicBezTo>
                  <a:pt x="289561" y="280431"/>
                  <a:pt x="293834" y="280432"/>
                  <a:pt x="296468" y="283068"/>
                </a:cubicBezTo>
                <a:lnTo>
                  <a:pt x="302523" y="289123"/>
                </a:lnTo>
                <a:cubicBezTo>
                  <a:pt x="305482" y="287601"/>
                  <a:pt x="308559" y="286323"/>
                  <a:pt x="311725" y="285300"/>
                </a:cubicBezTo>
                <a:lnTo>
                  <a:pt x="311725" y="276750"/>
                </a:lnTo>
                <a:cubicBezTo>
                  <a:pt x="311725" y="273022"/>
                  <a:pt x="314747" y="270000"/>
                  <a:pt x="318475" y="270000"/>
                </a:cubicBezTo>
                <a:close/>
                <a:moveTo>
                  <a:pt x="195749" y="227498"/>
                </a:moveTo>
                <a:lnTo>
                  <a:pt x="167124" y="260893"/>
                </a:lnTo>
                <a:cubicBezTo>
                  <a:pt x="165841" y="262388"/>
                  <a:pt x="163969" y="263250"/>
                  <a:pt x="161999" y="263250"/>
                </a:cubicBezTo>
                <a:cubicBezTo>
                  <a:pt x="161517" y="263250"/>
                  <a:pt x="161036" y="263198"/>
                  <a:pt x="160565" y="263095"/>
                </a:cubicBezTo>
                <a:lnTo>
                  <a:pt x="47249" y="238461"/>
                </a:lnTo>
                <a:lnTo>
                  <a:pt x="47249" y="352479"/>
                </a:lnTo>
                <a:lnTo>
                  <a:pt x="195749" y="389604"/>
                </a:lnTo>
                <a:close/>
                <a:moveTo>
                  <a:pt x="355455" y="189500"/>
                </a:moveTo>
                <a:lnTo>
                  <a:pt x="215346" y="213867"/>
                </a:lnTo>
                <a:lnTo>
                  <a:pt x="245500" y="249048"/>
                </a:lnTo>
                <a:lnTo>
                  <a:pt x="384732" y="218781"/>
                </a:lnTo>
                <a:close/>
                <a:moveTo>
                  <a:pt x="49543" y="189500"/>
                </a:moveTo>
                <a:lnTo>
                  <a:pt x="20265" y="218781"/>
                </a:lnTo>
                <a:lnTo>
                  <a:pt x="159497" y="249048"/>
                </a:lnTo>
                <a:lnTo>
                  <a:pt x="189651" y="213867"/>
                </a:lnTo>
                <a:close/>
                <a:moveTo>
                  <a:pt x="184126" y="168749"/>
                </a:moveTo>
                <a:cubicBezTo>
                  <a:pt x="186518" y="172912"/>
                  <a:pt x="190947" y="175485"/>
                  <a:pt x="195749" y="175499"/>
                </a:cubicBezTo>
                <a:lnTo>
                  <a:pt x="209249" y="175499"/>
                </a:lnTo>
                <a:cubicBezTo>
                  <a:pt x="214050" y="175485"/>
                  <a:pt x="218479" y="172912"/>
                  <a:pt x="220872" y="168749"/>
                </a:cubicBezTo>
                <a:close/>
                <a:moveTo>
                  <a:pt x="250991" y="155365"/>
                </a:moveTo>
                <a:lnTo>
                  <a:pt x="358991" y="175615"/>
                </a:lnTo>
                <a:lnTo>
                  <a:pt x="358982" y="175662"/>
                </a:lnTo>
                <a:cubicBezTo>
                  <a:pt x="360318" y="175896"/>
                  <a:pt x="361552" y="176529"/>
                  <a:pt x="362521" y="177477"/>
                </a:cubicBezTo>
                <a:lnTo>
                  <a:pt x="403021" y="217977"/>
                </a:lnTo>
                <a:cubicBezTo>
                  <a:pt x="403936" y="218893"/>
                  <a:pt x="404569" y="220052"/>
                  <a:pt x="404844" y="221317"/>
                </a:cubicBezTo>
                <a:cubicBezTo>
                  <a:pt x="405636" y="224960"/>
                  <a:pt x="403325" y="228553"/>
                  <a:pt x="399682" y="229345"/>
                </a:cubicBezTo>
                <a:lnTo>
                  <a:pt x="371249" y="235526"/>
                </a:lnTo>
                <a:lnTo>
                  <a:pt x="371249" y="270000"/>
                </a:lnTo>
                <a:lnTo>
                  <a:pt x="357749" y="270000"/>
                </a:lnTo>
                <a:lnTo>
                  <a:pt x="357749" y="238461"/>
                </a:lnTo>
                <a:lnTo>
                  <a:pt x="244432" y="263094"/>
                </a:lnTo>
                <a:cubicBezTo>
                  <a:pt x="243961" y="263198"/>
                  <a:pt x="243481" y="263250"/>
                  <a:pt x="242999" y="263250"/>
                </a:cubicBezTo>
                <a:cubicBezTo>
                  <a:pt x="241028" y="263250"/>
                  <a:pt x="239157" y="262388"/>
                  <a:pt x="237873" y="260893"/>
                </a:cubicBezTo>
                <a:lnTo>
                  <a:pt x="209249" y="227498"/>
                </a:lnTo>
                <a:lnTo>
                  <a:pt x="209249" y="389604"/>
                </a:lnTo>
                <a:lnTo>
                  <a:pt x="254860" y="378201"/>
                </a:lnTo>
                <a:lnTo>
                  <a:pt x="258137" y="391298"/>
                </a:lnTo>
                <a:lnTo>
                  <a:pt x="204137" y="404798"/>
                </a:lnTo>
                <a:lnTo>
                  <a:pt x="204119" y="404730"/>
                </a:lnTo>
                <a:cubicBezTo>
                  <a:pt x="203062" y="405066"/>
                  <a:pt x="201931" y="405090"/>
                  <a:pt x="200860" y="404798"/>
                </a:cubicBezTo>
                <a:lnTo>
                  <a:pt x="38861" y="364298"/>
                </a:lnTo>
                <a:cubicBezTo>
                  <a:pt x="35856" y="363546"/>
                  <a:pt x="33749" y="360846"/>
                  <a:pt x="33749" y="357750"/>
                </a:cubicBezTo>
                <a:lnTo>
                  <a:pt x="33749" y="235526"/>
                </a:lnTo>
                <a:lnTo>
                  <a:pt x="5315" y="229345"/>
                </a:lnTo>
                <a:cubicBezTo>
                  <a:pt x="4050" y="229070"/>
                  <a:pt x="2890" y="228437"/>
                  <a:pt x="1975" y="227521"/>
                </a:cubicBezTo>
                <a:cubicBezTo>
                  <a:pt x="-660" y="224885"/>
                  <a:pt x="-659" y="220613"/>
                  <a:pt x="1976" y="217977"/>
                </a:cubicBezTo>
                <a:lnTo>
                  <a:pt x="42476" y="177477"/>
                </a:lnTo>
                <a:cubicBezTo>
                  <a:pt x="43446" y="176529"/>
                  <a:pt x="44679" y="175896"/>
                  <a:pt x="46015" y="175663"/>
                </a:cubicBezTo>
                <a:lnTo>
                  <a:pt x="46006" y="175616"/>
                </a:lnTo>
                <a:lnTo>
                  <a:pt x="154007" y="155366"/>
                </a:lnTo>
                <a:lnTo>
                  <a:pt x="156491" y="168635"/>
                </a:lnTo>
                <a:lnTo>
                  <a:pt x="85211" y="182000"/>
                </a:lnTo>
                <a:lnTo>
                  <a:pt x="202499" y="202398"/>
                </a:lnTo>
                <a:lnTo>
                  <a:pt x="319787" y="182000"/>
                </a:lnTo>
                <a:lnTo>
                  <a:pt x="248506" y="168635"/>
                </a:lnTo>
                <a:close/>
                <a:moveTo>
                  <a:pt x="182249" y="148499"/>
                </a:moveTo>
                <a:lnTo>
                  <a:pt x="182249" y="155249"/>
                </a:lnTo>
                <a:lnTo>
                  <a:pt x="222749" y="155249"/>
                </a:lnTo>
                <a:lnTo>
                  <a:pt x="222749" y="148499"/>
                </a:lnTo>
                <a:close/>
                <a:moveTo>
                  <a:pt x="269999" y="81000"/>
                </a:moveTo>
                <a:lnTo>
                  <a:pt x="290249" y="81000"/>
                </a:lnTo>
                <a:lnTo>
                  <a:pt x="290249" y="94500"/>
                </a:lnTo>
                <a:lnTo>
                  <a:pt x="269999" y="94500"/>
                </a:lnTo>
                <a:close/>
                <a:moveTo>
                  <a:pt x="114749" y="81000"/>
                </a:moveTo>
                <a:lnTo>
                  <a:pt x="134999" y="81000"/>
                </a:lnTo>
                <a:lnTo>
                  <a:pt x="134999" y="94500"/>
                </a:lnTo>
                <a:lnTo>
                  <a:pt x="114749" y="94500"/>
                </a:lnTo>
                <a:close/>
                <a:moveTo>
                  <a:pt x="202532" y="40496"/>
                </a:moveTo>
                <a:cubicBezTo>
                  <a:pt x="200717" y="40496"/>
                  <a:pt x="198903" y="40600"/>
                  <a:pt x="197100" y="40806"/>
                </a:cubicBezTo>
                <a:cubicBezTo>
                  <a:pt x="174872" y="43904"/>
                  <a:pt x="157664" y="61836"/>
                  <a:pt x="155486" y="84173"/>
                </a:cubicBezTo>
                <a:cubicBezTo>
                  <a:pt x="153899" y="100092"/>
                  <a:pt x="160122" y="115793"/>
                  <a:pt x="172183" y="126301"/>
                </a:cubicBezTo>
                <a:cubicBezTo>
                  <a:pt x="174961" y="128742"/>
                  <a:pt x="177244" y="131695"/>
                  <a:pt x="178904" y="134999"/>
                </a:cubicBezTo>
                <a:lnTo>
                  <a:pt x="195749" y="134999"/>
                </a:lnTo>
                <a:lnTo>
                  <a:pt x="195749" y="124874"/>
                </a:lnTo>
                <a:lnTo>
                  <a:pt x="175268" y="109512"/>
                </a:lnTo>
                <a:cubicBezTo>
                  <a:pt x="171173" y="106428"/>
                  <a:pt x="168760" y="101603"/>
                  <a:pt x="168749" y="96477"/>
                </a:cubicBezTo>
                <a:lnTo>
                  <a:pt x="168749" y="90545"/>
                </a:lnTo>
                <a:cubicBezTo>
                  <a:pt x="168749" y="86223"/>
                  <a:pt x="170465" y="82078"/>
                  <a:pt x="173522" y="79022"/>
                </a:cubicBezTo>
                <a:cubicBezTo>
                  <a:pt x="179885" y="72658"/>
                  <a:pt x="190203" y="72658"/>
                  <a:pt x="196566" y="79022"/>
                </a:cubicBezTo>
                <a:lnTo>
                  <a:pt x="200522" y="82977"/>
                </a:lnTo>
                <a:cubicBezTo>
                  <a:pt x="201615" y="84065"/>
                  <a:pt x="203382" y="84065"/>
                  <a:pt x="204476" y="82977"/>
                </a:cubicBezTo>
                <a:lnTo>
                  <a:pt x="208431" y="79022"/>
                </a:lnTo>
                <a:cubicBezTo>
                  <a:pt x="211487" y="75967"/>
                  <a:pt x="215631" y="74250"/>
                  <a:pt x="219953" y="74250"/>
                </a:cubicBezTo>
                <a:cubicBezTo>
                  <a:pt x="228953" y="74249"/>
                  <a:pt x="236249" y="81545"/>
                  <a:pt x="236249" y="90545"/>
                </a:cubicBezTo>
                <a:lnTo>
                  <a:pt x="236249" y="96477"/>
                </a:lnTo>
                <a:cubicBezTo>
                  <a:pt x="236237" y="101605"/>
                  <a:pt x="233822" y="106431"/>
                  <a:pt x="229726" y="109515"/>
                </a:cubicBezTo>
                <a:lnTo>
                  <a:pt x="220049" y="116773"/>
                </a:lnTo>
                <a:lnTo>
                  <a:pt x="211948" y="105976"/>
                </a:lnTo>
                <a:lnTo>
                  <a:pt x="221628" y="98715"/>
                </a:lnTo>
                <a:cubicBezTo>
                  <a:pt x="222331" y="98186"/>
                  <a:pt x="222745" y="97357"/>
                  <a:pt x="222748" y="96477"/>
                </a:cubicBezTo>
                <a:lnTo>
                  <a:pt x="222748" y="90545"/>
                </a:lnTo>
                <a:cubicBezTo>
                  <a:pt x="222699" y="89940"/>
                  <a:pt x="222461" y="89367"/>
                  <a:pt x="222069" y="88904"/>
                </a:cubicBezTo>
                <a:cubicBezTo>
                  <a:pt x="221032" y="87681"/>
                  <a:pt x="219200" y="87529"/>
                  <a:pt x="217976" y="88567"/>
                </a:cubicBezTo>
                <a:lnTo>
                  <a:pt x="214021" y="92522"/>
                </a:lnTo>
                <a:cubicBezTo>
                  <a:pt x="207573" y="98678"/>
                  <a:pt x="197424" y="98678"/>
                  <a:pt x="190976" y="92522"/>
                </a:cubicBezTo>
                <a:lnTo>
                  <a:pt x="187021" y="88567"/>
                </a:lnTo>
                <a:cubicBezTo>
                  <a:pt x="186559" y="88175"/>
                  <a:pt x="185984" y="87937"/>
                  <a:pt x="185379" y="87887"/>
                </a:cubicBezTo>
                <a:cubicBezTo>
                  <a:pt x="183782" y="87756"/>
                  <a:pt x="182380" y="88946"/>
                  <a:pt x="182249" y="90545"/>
                </a:cubicBezTo>
                <a:lnTo>
                  <a:pt x="182249" y="96477"/>
                </a:lnTo>
                <a:cubicBezTo>
                  <a:pt x="182251" y="97355"/>
                  <a:pt x="182664" y="98182"/>
                  <a:pt x="183366" y="98711"/>
                </a:cubicBezTo>
                <a:lnTo>
                  <a:pt x="206549" y="116101"/>
                </a:lnTo>
                <a:cubicBezTo>
                  <a:pt x="208250" y="117375"/>
                  <a:pt x="209250" y="119375"/>
                  <a:pt x="209249" y="121499"/>
                </a:cubicBezTo>
                <a:lnTo>
                  <a:pt x="209249" y="134999"/>
                </a:lnTo>
                <a:lnTo>
                  <a:pt x="226055" y="134999"/>
                </a:lnTo>
                <a:cubicBezTo>
                  <a:pt x="227684" y="131730"/>
                  <a:pt x="229937" y="128811"/>
                  <a:pt x="232686" y="126407"/>
                </a:cubicBezTo>
                <a:cubicBezTo>
                  <a:pt x="234208" y="125088"/>
                  <a:pt x="235648" y="123678"/>
                  <a:pt x="236998" y="122184"/>
                </a:cubicBezTo>
                <a:cubicBezTo>
                  <a:pt x="255296" y="101932"/>
                  <a:pt x="253712" y="70682"/>
                  <a:pt x="233460" y="52384"/>
                </a:cubicBezTo>
                <a:cubicBezTo>
                  <a:pt x="224983" y="44722"/>
                  <a:pt x="213959" y="40484"/>
                  <a:pt x="202532" y="40496"/>
                </a:cubicBezTo>
                <a:close/>
                <a:moveTo>
                  <a:pt x="195577" y="27391"/>
                </a:moveTo>
                <a:cubicBezTo>
                  <a:pt x="212626" y="25355"/>
                  <a:pt x="229721" y="30798"/>
                  <a:pt x="242455" y="42315"/>
                </a:cubicBezTo>
                <a:cubicBezTo>
                  <a:pt x="244399" y="44067"/>
                  <a:pt x="246231" y="45939"/>
                  <a:pt x="247942" y="47920"/>
                </a:cubicBezTo>
                <a:cubicBezTo>
                  <a:pt x="270660" y="74218"/>
                  <a:pt x="267758" y="113953"/>
                  <a:pt x="241460" y="136671"/>
                </a:cubicBezTo>
                <a:cubicBezTo>
                  <a:pt x="238100" y="139607"/>
                  <a:pt x="236195" y="143869"/>
                  <a:pt x="236249" y="148331"/>
                </a:cubicBezTo>
                <a:lnTo>
                  <a:pt x="236249" y="161999"/>
                </a:lnTo>
                <a:cubicBezTo>
                  <a:pt x="236232" y="176904"/>
                  <a:pt x="224153" y="188983"/>
                  <a:pt x="209249" y="188999"/>
                </a:cubicBezTo>
                <a:lnTo>
                  <a:pt x="195749" y="188999"/>
                </a:lnTo>
                <a:cubicBezTo>
                  <a:pt x="180844" y="188983"/>
                  <a:pt x="168766" y="176904"/>
                  <a:pt x="168749" y="161999"/>
                </a:cubicBezTo>
                <a:lnTo>
                  <a:pt x="168749" y="148335"/>
                </a:lnTo>
                <a:cubicBezTo>
                  <a:pt x="168764" y="143805"/>
                  <a:pt x="166802" y="139495"/>
                  <a:pt x="163376" y="136532"/>
                </a:cubicBezTo>
                <a:cubicBezTo>
                  <a:pt x="147994" y="123165"/>
                  <a:pt x="140044" y="103172"/>
                  <a:pt x="142046" y="82891"/>
                </a:cubicBezTo>
                <a:cubicBezTo>
                  <a:pt x="144635" y="54112"/>
                  <a:pt x="166911" y="31018"/>
                  <a:pt x="195577" y="27391"/>
                </a:cubicBezTo>
                <a:close/>
                <a:moveTo>
                  <a:pt x="145222" y="20928"/>
                </a:moveTo>
                <a:lnTo>
                  <a:pt x="159540" y="35246"/>
                </a:lnTo>
                <a:lnTo>
                  <a:pt x="149995" y="44791"/>
                </a:lnTo>
                <a:lnTo>
                  <a:pt x="135677" y="30473"/>
                </a:lnTo>
                <a:close/>
                <a:moveTo>
                  <a:pt x="259776" y="20928"/>
                </a:moveTo>
                <a:lnTo>
                  <a:pt x="269321" y="30473"/>
                </a:lnTo>
                <a:lnTo>
                  <a:pt x="255003" y="44790"/>
                </a:lnTo>
                <a:lnTo>
                  <a:pt x="245458" y="35245"/>
                </a:lnTo>
                <a:close/>
                <a:moveTo>
                  <a:pt x="195749" y="0"/>
                </a:moveTo>
                <a:lnTo>
                  <a:pt x="209249" y="0"/>
                </a:lnTo>
                <a:lnTo>
                  <a:pt x="209249" y="20250"/>
                </a:lnTo>
                <a:lnTo>
                  <a:pt x="195749" y="20250"/>
                </a:lnTo>
                <a:close/>
              </a:path>
            </a:pathLst>
          </a:custGeom>
          <a:solidFill>
            <a:schemeClr val="accent3"/>
          </a:solidFill>
          <a:ln w="6697" cap="flat">
            <a:noFill/>
            <a:prstDash val="solid"/>
            <a:miter/>
          </a:ln>
        </p:spPr>
        <p:txBody>
          <a:bodyPr rtlCol="0" anchor="ctr"/>
          <a:lstStyle/>
          <a:p>
            <a:pPr defTabSz="685739"/>
            <a:endParaRPr lang="en-GB" sz="1350" dirty="0">
              <a:solidFill>
                <a:srgbClr val="000000"/>
              </a:solidFill>
            </a:endParaRPr>
          </a:p>
        </p:txBody>
      </p:sp>
      <p:sp>
        <p:nvSpPr>
          <p:cNvPr id="75" name="Freeform: Shape 74">
            <a:extLst>
              <a:ext uri="{FF2B5EF4-FFF2-40B4-BE49-F238E27FC236}">
                <a16:creationId xmlns:a16="http://schemas.microsoft.com/office/drawing/2014/main" id="{D95EBA73-8051-2DD5-BD8B-CF92E6FF6DF8}"/>
              </a:ext>
            </a:extLst>
          </p:cNvPr>
          <p:cNvSpPr/>
          <p:nvPr/>
        </p:nvSpPr>
        <p:spPr>
          <a:xfrm>
            <a:off x="4987574" y="1963222"/>
            <a:ext cx="363171" cy="363170"/>
          </a:xfrm>
          <a:custGeom>
            <a:avLst/>
            <a:gdLst>
              <a:gd name="connsiteX0" fmla="*/ 216000 w 432000"/>
              <a:gd name="connsiteY0" fmla="*/ 381374 h 431999"/>
              <a:gd name="connsiteX1" fmla="*/ 197016 w 432000"/>
              <a:gd name="connsiteY1" fmla="*/ 400359 h 431999"/>
              <a:gd name="connsiteX2" fmla="*/ 216000 w 432000"/>
              <a:gd name="connsiteY2" fmla="*/ 419343 h 431999"/>
              <a:gd name="connsiteX3" fmla="*/ 234984 w 432000"/>
              <a:gd name="connsiteY3" fmla="*/ 400359 h 431999"/>
              <a:gd name="connsiteX4" fmla="*/ 216000 w 432000"/>
              <a:gd name="connsiteY4" fmla="*/ 381374 h 431999"/>
              <a:gd name="connsiteX5" fmla="*/ 346362 w 432000"/>
              <a:gd name="connsiteY5" fmla="*/ 327458 h 431999"/>
              <a:gd name="connsiteX6" fmla="*/ 332938 w 432000"/>
              <a:gd name="connsiteY6" fmla="*/ 332939 h 431999"/>
              <a:gd name="connsiteX7" fmla="*/ 332938 w 432000"/>
              <a:gd name="connsiteY7" fmla="*/ 359785 h 431999"/>
              <a:gd name="connsiteX8" fmla="*/ 359786 w 432000"/>
              <a:gd name="connsiteY8" fmla="*/ 359785 h 431999"/>
              <a:gd name="connsiteX9" fmla="*/ 359786 w 432000"/>
              <a:gd name="connsiteY9" fmla="*/ 332939 h 431999"/>
              <a:gd name="connsiteX10" fmla="*/ 346362 w 432000"/>
              <a:gd name="connsiteY10" fmla="*/ 327458 h 431999"/>
              <a:gd name="connsiteX11" fmla="*/ 85638 w 432000"/>
              <a:gd name="connsiteY11" fmla="*/ 327457 h 431999"/>
              <a:gd name="connsiteX12" fmla="*/ 72214 w 432000"/>
              <a:gd name="connsiteY12" fmla="*/ 332938 h 431999"/>
              <a:gd name="connsiteX13" fmla="*/ 72214 w 432000"/>
              <a:gd name="connsiteY13" fmla="*/ 359785 h 431999"/>
              <a:gd name="connsiteX14" fmla="*/ 99062 w 432000"/>
              <a:gd name="connsiteY14" fmla="*/ 359784 h 431999"/>
              <a:gd name="connsiteX15" fmla="*/ 99062 w 432000"/>
              <a:gd name="connsiteY15" fmla="*/ 332938 h 431999"/>
              <a:gd name="connsiteX16" fmla="*/ 85638 w 432000"/>
              <a:gd name="connsiteY16" fmla="*/ 327457 h 431999"/>
              <a:gd name="connsiteX17" fmla="*/ 400359 w 432000"/>
              <a:gd name="connsiteY17" fmla="*/ 197016 h 431999"/>
              <a:gd name="connsiteX18" fmla="*/ 381375 w 432000"/>
              <a:gd name="connsiteY18" fmla="*/ 216000 h 431999"/>
              <a:gd name="connsiteX19" fmla="*/ 400359 w 432000"/>
              <a:gd name="connsiteY19" fmla="*/ 234984 h 431999"/>
              <a:gd name="connsiteX20" fmla="*/ 419344 w 432000"/>
              <a:gd name="connsiteY20" fmla="*/ 216000 h 431999"/>
              <a:gd name="connsiteX21" fmla="*/ 400359 w 432000"/>
              <a:gd name="connsiteY21" fmla="*/ 197016 h 431999"/>
              <a:gd name="connsiteX22" fmla="*/ 31641 w 432000"/>
              <a:gd name="connsiteY22" fmla="*/ 197015 h 431999"/>
              <a:gd name="connsiteX23" fmla="*/ 12656 w 432000"/>
              <a:gd name="connsiteY23" fmla="*/ 215999 h 431999"/>
              <a:gd name="connsiteX24" fmla="*/ 31641 w 432000"/>
              <a:gd name="connsiteY24" fmla="*/ 234984 h 431999"/>
              <a:gd name="connsiteX25" fmla="*/ 50625 w 432000"/>
              <a:gd name="connsiteY25" fmla="*/ 215999 h 431999"/>
              <a:gd name="connsiteX26" fmla="*/ 31641 w 432000"/>
              <a:gd name="connsiteY26" fmla="*/ 197015 h 431999"/>
              <a:gd name="connsiteX27" fmla="*/ 216000 w 432000"/>
              <a:gd name="connsiteY27" fmla="*/ 154828 h 431999"/>
              <a:gd name="connsiteX28" fmla="*/ 222328 w 432000"/>
              <a:gd name="connsiteY28" fmla="*/ 161156 h 431999"/>
              <a:gd name="connsiteX29" fmla="*/ 222328 w 432000"/>
              <a:gd name="connsiteY29" fmla="*/ 168222 h 431999"/>
              <a:gd name="connsiteX30" fmla="*/ 243422 w 432000"/>
              <a:gd name="connsiteY30" fmla="*/ 194906 h 431999"/>
              <a:gd name="connsiteX31" fmla="*/ 237094 w 432000"/>
              <a:gd name="connsiteY31" fmla="*/ 201234 h 431999"/>
              <a:gd name="connsiteX32" fmla="*/ 230766 w 432000"/>
              <a:gd name="connsiteY32" fmla="*/ 194906 h 431999"/>
              <a:gd name="connsiteX33" fmla="*/ 216000 w 432000"/>
              <a:gd name="connsiteY33" fmla="*/ 180141 h 431999"/>
              <a:gd name="connsiteX34" fmla="*/ 201234 w 432000"/>
              <a:gd name="connsiteY34" fmla="*/ 194906 h 431999"/>
              <a:gd name="connsiteX35" fmla="*/ 216000 w 432000"/>
              <a:gd name="connsiteY35" fmla="*/ 209672 h 431999"/>
              <a:gd name="connsiteX36" fmla="*/ 243422 w 432000"/>
              <a:gd name="connsiteY36" fmla="*/ 237094 h 431999"/>
              <a:gd name="connsiteX37" fmla="*/ 222328 w 432000"/>
              <a:gd name="connsiteY37" fmla="*/ 263778 h 431999"/>
              <a:gd name="connsiteX38" fmla="*/ 222328 w 432000"/>
              <a:gd name="connsiteY38" fmla="*/ 270844 h 431999"/>
              <a:gd name="connsiteX39" fmla="*/ 216000 w 432000"/>
              <a:gd name="connsiteY39" fmla="*/ 277172 h 431999"/>
              <a:gd name="connsiteX40" fmla="*/ 209672 w 432000"/>
              <a:gd name="connsiteY40" fmla="*/ 270844 h 431999"/>
              <a:gd name="connsiteX41" fmla="*/ 209672 w 432000"/>
              <a:gd name="connsiteY41" fmla="*/ 263778 h 431999"/>
              <a:gd name="connsiteX42" fmla="*/ 188578 w 432000"/>
              <a:gd name="connsiteY42" fmla="*/ 237094 h 431999"/>
              <a:gd name="connsiteX43" fmla="*/ 194906 w 432000"/>
              <a:gd name="connsiteY43" fmla="*/ 230766 h 431999"/>
              <a:gd name="connsiteX44" fmla="*/ 201234 w 432000"/>
              <a:gd name="connsiteY44" fmla="*/ 237094 h 431999"/>
              <a:gd name="connsiteX45" fmla="*/ 216000 w 432000"/>
              <a:gd name="connsiteY45" fmla="*/ 251859 h 431999"/>
              <a:gd name="connsiteX46" fmla="*/ 230766 w 432000"/>
              <a:gd name="connsiteY46" fmla="*/ 237094 h 431999"/>
              <a:gd name="connsiteX47" fmla="*/ 216000 w 432000"/>
              <a:gd name="connsiteY47" fmla="*/ 222328 h 431999"/>
              <a:gd name="connsiteX48" fmla="*/ 188578 w 432000"/>
              <a:gd name="connsiteY48" fmla="*/ 194906 h 431999"/>
              <a:gd name="connsiteX49" fmla="*/ 209672 w 432000"/>
              <a:gd name="connsiteY49" fmla="*/ 168222 h 431999"/>
              <a:gd name="connsiteX50" fmla="*/ 209672 w 432000"/>
              <a:gd name="connsiteY50" fmla="*/ 161156 h 431999"/>
              <a:gd name="connsiteX51" fmla="*/ 216000 w 432000"/>
              <a:gd name="connsiteY51" fmla="*/ 154828 h 431999"/>
              <a:gd name="connsiteX52" fmla="*/ 215999 w 432000"/>
              <a:gd name="connsiteY52" fmla="*/ 142171 h 431999"/>
              <a:gd name="connsiteX53" fmla="*/ 142171 w 432000"/>
              <a:gd name="connsiteY53" fmla="*/ 215999 h 431999"/>
              <a:gd name="connsiteX54" fmla="*/ 215999 w 432000"/>
              <a:gd name="connsiteY54" fmla="*/ 289828 h 431999"/>
              <a:gd name="connsiteX55" fmla="*/ 289828 w 432000"/>
              <a:gd name="connsiteY55" fmla="*/ 215999 h 431999"/>
              <a:gd name="connsiteX56" fmla="*/ 215999 w 432000"/>
              <a:gd name="connsiteY56" fmla="*/ 142171 h 431999"/>
              <a:gd name="connsiteX57" fmla="*/ 215999 w 432000"/>
              <a:gd name="connsiteY57" fmla="*/ 129515 h 431999"/>
              <a:gd name="connsiteX58" fmla="*/ 302484 w 432000"/>
              <a:gd name="connsiteY58" fmla="*/ 215999 h 431999"/>
              <a:gd name="connsiteX59" fmla="*/ 215999 w 432000"/>
              <a:gd name="connsiteY59" fmla="*/ 302484 h 431999"/>
              <a:gd name="connsiteX60" fmla="*/ 129515 w 432000"/>
              <a:gd name="connsiteY60" fmla="*/ 215999 h 431999"/>
              <a:gd name="connsiteX61" fmla="*/ 215999 w 432000"/>
              <a:gd name="connsiteY61" fmla="*/ 129515 h 431999"/>
              <a:gd name="connsiteX62" fmla="*/ 346362 w 432000"/>
              <a:gd name="connsiteY62" fmla="*/ 66734 h 431999"/>
              <a:gd name="connsiteX63" fmla="*/ 332938 w 432000"/>
              <a:gd name="connsiteY63" fmla="*/ 72215 h 431999"/>
              <a:gd name="connsiteX64" fmla="*/ 332938 w 432000"/>
              <a:gd name="connsiteY64" fmla="*/ 99061 h 431999"/>
              <a:gd name="connsiteX65" fmla="*/ 359786 w 432000"/>
              <a:gd name="connsiteY65" fmla="*/ 99061 h 431999"/>
              <a:gd name="connsiteX66" fmla="*/ 359786 w 432000"/>
              <a:gd name="connsiteY66" fmla="*/ 72215 h 431999"/>
              <a:gd name="connsiteX67" fmla="*/ 346362 w 432000"/>
              <a:gd name="connsiteY67" fmla="*/ 66734 h 431999"/>
              <a:gd name="connsiteX68" fmla="*/ 85638 w 432000"/>
              <a:gd name="connsiteY68" fmla="*/ 66733 h 431999"/>
              <a:gd name="connsiteX69" fmla="*/ 72214 w 432000"/>
              <a:gd name="connsiteY69" fmla="*/ 72214 h 431999"/>
              <a:gd name="connsiteX70" fmla="*/ 72214 w 432000"/>
              <a:gd name="connsiteY70" fmla="*/ 99060 h 431999"/>
              <a:gd name="connsiteX71" fmla="*/ 99062 w 432000"/>
              <a:gd name="connsiteY71" fmla="*/ 99060 h 431999"/>
              <a:gd name="connsiteX72" fmla="*/ 99062 w 432000"/>
              <a:gd name="connsiteY72" fmla="*/ 72213 h 431999"/>
              <a:gd name="connsiteX73" fmla="*/ 85638 w 432000"/>
              <a:gd name="connsiteY73" fmla="*/ 66733 h 431999"/>
              <a:gd name="connsiteX74" fmla="*/ 85638 w 432000"/>
              <a:gd name="connsiteY74" fmla="*/ 54011 h 431999"/>
              <a:gd name="connsiteX75" fmla="*/ 108011 w 432000"/>
              <a:gd name="connsiteY75" fmla="*/ 63264 h 431999"/>
              <a:gd name="connsiteX76" fmla="*/ 112041 w 432000"/>
              <a:gd name="connsiteY76" fmla="*/ 103090 h 431999"/>
              <a:gd name="connsiteX77" fmla="*/ 141552 w 432000"/>
              <a:gd name="connsiteY77" fmla="*/ 132601 h 431999"/>
              <a:gd name="connsiteX78" fmla="*/ 159167 w 432000"/>
              <a:gd name="connsiteY78" fmla="*/ 119707 h 431999"/>
              <a:gd name="connsiteX79" fmla="*/ 167835 w 432000"/>
              <a:gd name="connsiteY79" fmla="*/ 121932 h 431999"/>
              <a:gd name="connsiteX80" fmla="*/ 165609 w 432000"/>
              <a:gd name="connsiteY80" fmla="*/ 130600 h 431999"/>
              <a:gd name="connsiteX81" fmla="*/ 130286 w 432000"/>
              <a:gd name="connsiteY81" fmla="*/ 166145 h 431999"/>
              <a:gd name="connsiteX82" fmla="*/ 116859 w 432000"/>
              <a:gd name="connsiteY82" fmla="*/ 215999 h 431999"/>
              <a:gd name="connsiteX83" fmla="*/ 215999 w 432000"/>
              <a:gd name="connsiteY83" fmla="*/ 315140 h 431999"/>
              <a:gd name="connsiteX84" fmla="*/ 240756 w 432000"/>
              <a:gd name="connsiteY84" fmla="*/ 312026 h 431999"/>
              <a:gd name="connsiteX85" fmla="*/ 248460 w 432000"/>
              <a:gd name="connsiteY85" fmla="*/ 316578 h 431999"/>
              <a:gd name="connsiteX86" fmla="*/ 243907 w 432000"/>
              <a:gd name="connsiteY86" fmla="*/ 324283 h 431999"/>
              <a:gd name="connsiteX87" fmla="*/ 222327 w 432000"/>
              <a:gd name="connsiteY87" fmla="*/ 327619 h 431999"/>
              <a:gd name="connsiteX88" fmla="*/ 222327 w 432000"/>
              <a:gd name="connsiteY88" fmla="*/ 369354 h 431999"/>
              <a:gd name="connsiteX89" fmla="*/ 247640 w 432000"/>
              <a:gd name="connsiteY89" fmla="*/ 400359 h 431999"/>
              <a:gd name="connsiteX90" fmla="*/ 215999 w 432000"/>
              <a:gd name="connsiteY90" fmla="*/ 431999 h 431999"/>
              <a:gd name="connsiteX91" fmla="*/ 184359 w 432000"/>
              <a:gd name="connsiteY91" fmla="*/ 400359 h 431999"/>
              <a:gd name="connsiteX92" fmla="*/ 209671 w 432000"/>
              <a:gd name="connsiteY92" fmla="*/ 369354 h 431999"/>
              <a:gd name="connsiteX93" fmla="*/ 209671 w 432000"/>
              <a:gd name="connsiteY93" fmla="*/ 327619 h 431999"/>
              <a:gd name="connsiteX94" fmla="*/ 141585 w 432000"/>
              <a:gd name="connsiteY94" fmla="*/ 299363 h 431999"/>
              <a:gd name="connsiteX95" fmla="*/ 112041 w 432000"/>
              <a:gd name="connsiteY95" fmla="*/ 328908 h 431999"/>
              <a:gd name="connsiteX96" fmla="*/ 108011 w 432000"/>
              <a:gd name="connsiteY96" fmla="*/ 368734 h 431999"/>
              <a:gd name="connsiteX97" fmla="*/ 63264 w 432000"/>
              <a:gd name="connsiteY97" fmla="*/ 368735 h 431999"/>
              <a:gd name="connsiteX98" fmla="*/ 63264 w 432000"/>
              <a:gd name="connsiteY98" fmla="*/ 323988 h 431999"/>
              <a:gd name="connsiteX99" fmla="*/ 103087 w 432000"/>
              <a:gd name="connsiteY99" fmla="*/ 319963 h 431999"/>
              <a:gd name="connsiteX100" fmla="*/ 132636 w 432000"/>
              <a:gd name="connsiteY100" fmla="*/ 290414 h 431999"/>
              <a:gd name="connsiteX101" fmla="*/ 104380 w 432000"/>
              <a:gd name="connsiteY101" fmla="*/ 222327 h 431999"/>
              <a:gd name="connsiteX102" fmla="*/ 62645 w 432000"/>
              <a:gd name="connsiteY102" fmla="*/ 222327 h 431999"/>
              <a:gd name="connsiteX103" fmla="*/ 31641 w 432000"/>
              <a:gd name="connsiteY103" fmla="*/ 247640 h 431999"/>
              <a:gd name="connsiteX104" fmla="*/ 0 w 432000"/>
              <a:gd name="connsiteY104" fmla="*/ 215999 h 431999"/>
              <a:gd name="connsiteX105" fmla="*/ 31641 w 432000"/>
              <a:gd name="connsiteY105" fmla="*/ 184358 h 431999"/>
              <a:gd name="connsiteX106" fmla="*/ 62645 w 432000"/>
              <a:gd name="connsiteY106" fmla="*/ 209670 h 431999"/>
              <a:gd name="connsiteX107" fmla="*/ 104382 w 432000"/>
              <a:gd name="connsiteY107" fmla="*/ 209670 h 431999"/>
              <a:gd name="connsiteX108" fmla="*/ 119353 w 432000"/>
              <a:gd name="connsiteY108" fmla="*/ 159769 h 431999"/>
              <a:gd name="connsiteX109" fmla="*/ 132602 w 432000"/>
              <a:gd name="connsiteY109" fmla="*/ 141550 h 431999"/>
              <a:gd name="connsiteX110" fmla="*/ 103087 w 432000"/>
              <a:gd name="connsiteY110" fmla="*/ 112035 h 431999"/>
              <a:gd name="connsiteX111" fmla="*/ 63264 w 432000"/>
              <a:gd name="connsiteY111" fmla="*/ 108010 h 431999"/>
              <a:gd name="connsiteX112" fmla="*/ 63264 w 432000"/>
              <a:gd name="connsiteY112" fmla="*/ 63264 h 431999"/>
              <a:gd name="connsiteX113" fmla="*/ 85638 w 432000"/>
              <a:gd name="connsiteY113" fmla="*/ 54011 h 431999"/>
              <a:gd name="connsiteX114" fmla="*/ 216000 w 432000"/>
              <a:gd name="connsiteY114" fmla="*/ 12656 h 431999"/>
              <a:gd name="connsiteX115" fmla="*/ 197016 w 432000"/>
              <a:gd name="connsiteY115" fmla="*/ 31641 h 431999"/>
              <a:gd name="connsiteX116" fmla="*/ 216000 w 432000"/>
              <a:gd name="connsiteY116" fmla="*/ 50625 h 431999"/>
              <a:gd name="connsiteX117" fmla="*/ 234984 w 432000"/>
              <a:gd name="connsiteY117" fmla="*/ 31641 h 431999"/>
              <a:gd name="connsiteX118" fmla="*/ 216000 w 432000"/>
              <a:gd name="connsiteY118" fmla="*/ 12656 h 431999"/>
              <a:gd name="connsiteX119" fmla="*/ 216000 w 432000"/>
              <a:gd name="connsiteY119" fmla="*/ 0 h 431999"/>
              <a:gd name="connsiteX120" fmla="*/ 247641 w 432000"/>
              <a:gd name="connsiteY120" fmla="*/ 31641 h 431999"/>
              <a:gd name="connsiteX121" fmla="*/ 222328 w 432000"/>
              <a:gd name="connsiteY121" fmla="*/ 62645 h 431999"/>
              <a:gd name="connsiteX122" fmla="*/ 222328 w 432000"/>
              <a:gd name="connsiteY122" fmla="*/ 104380 h 431999"/>
              <a:gd name="connsiteX123" fmla="*/ 290414 w 432000"/>
              <a:gd name="connsiteY123" fmla="*/ 132636 h 431999"/>
              <a:gd name="connsiteX124" fmla="*/ 319958 w 432000"/>
              <a:gd name="connsiteY124" fmla="*/ 103091 h 431999"/>
              <a:gd name="connsiteX125" fmla="*/ 323988 w 432000"/>
              <a:gd name="connsiteY125" fmla="*/ 63264 h 431999"/>
              <a:gd name="connsiteX126" fmla="*/ 368735 w 432000"/>
              <a:gd name="connsiteY126" fmla="*/ 63264 h 431999"/>
              <a:gd name="connsiteX127" fmla="*/ 368735 w 432000"/>
              <a:gd name="connsiteY127" fmla="*/ 108011 h 431999"/>
              <a:gd name="connsiteX128" fmla="*/ 328913 w 432000"/>
              <a:gd name="connsiteY128" fmla="*/ 112037 h 431999"/>
              <a:gd name="connsiteX129" fmla="*/ 299364 w 432000"/>
              <a:gd name="connsiteY129" fmla="*/ 141585 h 431999"/>
              <a:gd name="connsiteX130" fmla="*/ 327620 w 432000"/>
              <a:gd name="connsiteY130" fmla="*/ 209672 h 431999"/>
              <a:gd name="connsiteX131" fmla="*/ 369355 w 432000"/>
              <a:gd name="connsiteY131" fmla="*/ 209672 h 431999"/>
              <a:gd name="connsiteX132" fmla="*/ 400359 w 432000"/>
              <a:gd name="connsiteY132" fmla="*/ 184359 h 431999"/>
              <a:gd name="connsiteX133" fmla="*/ 432000 w 432000"/>
              <a:gd name="connsiteY133" fmla="*/ 216000 h 431999"/>
              <a:gd name="connsiteX134" fmla="*/ 400359 w 432000"/>
              <a:gd name="connsiteY134" fmla="*/ 247641 h 431999"/>
              <a:gd name="connsiteX135" fmla="*/ 369355 w 432000"/>
              <a:gd name="connsiteY135" fmla="*/ 222328 h 431999"/>
              <a:gd name="connsiteX136" fmla="*/ 327618 w 432000"/>
              <a:gd name="connsiteY136" fmla="*/ 222328 h 431999"/>
              <a:gd name="connsiteX137" fmla="*/ 312647 w 432000"/>
              <a:gd name="connsiteY137" fmla="*/ 272229 h 431999"/>
              <a:gd name="connsiteX138" fmla="*/ 299398 w 432000"/>
              <a:gd name="connsiteY138" fmla="*/ 290448 h 431999"/>
              <a:gd name="connsiteX139" fmla="*/ 328913 w 432000"/>
              <a:gd name="connsiteY139" fmla="*/ 319964 h 431999"/>
              <a:gd name="connsiteX140" fmla="*/ 368735 w 432000"/>
              <a:gd name="connsiteY140" fmla="*/ 323989 h 431999"/>
              <a:gd name="connsiteX141" fmla="*/ 368735 w 432000"/>
              <a:gd name="connsiteY141" fmla="*/ 368736 h 431999"/>
              <a:gd name="connsiteX142" fmla="*/ 323988 w 432000"/>
              <a:gd name="connsiteY142" fmla="*/ 368736 h 431999"/>
              <a:gd name="connsiteX143" fmla="*/ 319958 w 432000"/>
              <a:gd name="connsiteY143" fmla="*/ 328909 h 431999"/>
              <a:gd name="connsiteX144" fmla="*/ 290448 w 432000"/>
              <a:gd name="connsiteY144" fmla="*/ 299398 h 431999"/>
              <a:gd name="connsiteX145" fmla="*/ 272833 w 432000"/>
              <a:gd name="connsiteY145" fmla="*/ 312292 h 431999"/>
              <a:gd name="connsiteX146" fmla="*/ 264165 w 432000"/>
              <a:gd name="connsiteY146" fmla="*/ 310067 h 431999"/>
              <a:gd name="connsiteX147" fmla="*/ 266391 w 432000"/>
              <a:gd name="connsiteY147" fmla="*/ 301399 h 431999"/>
              <a:gd name="connsiteX148" fmla="*/ 301714 w 432000"/>
              <a:gd name="connsiteY148" fmla="*/ 265855 h 431999"/>
              <a:gd name="connsiteX149" fmla="*/ 315141 w 432000"/>
              <a:gd name="connsiteY149" fmla="*/ 216000 h 431999"/>
              <a:gd name="connsiteX150" fmla="*/ 216001 w 432000"/>
              <a:gd name="connsiteY150" fmla="*/ 116859 h 431999"/>
              <a:gd name="connsiteX151" fmla="*/ 191244 w 432000"/>
              <a:gd name="connsiteY151" fmla="*/ 119974 h 431999"/>
              <a:gd name="connsiteX152" fmla="*/ 183540 w 432000"/>
              <a:gd name="connsiteY152" fmla="*/ 115421 h 431999"/>
              <a:gd name="connsiteX153" fmla="*/ 188093 w 432000"/>
              <a:gd name="connsiteY153" fmla="*/ 107717 h 431999"/>
              <a:gd name="connsiteX154" fmla="*/ 209672 w 432000"/>
              <a:gd name="connsiteY154" fmla="*/ 104380 h 431999"/>
              <a:gd name="connsiteX155" fmla="*/ 209672 w 432000"/>
              <a:gd name="connsiteY155" fmla="*/ 62645 h 431999"/>
              <a:gd name="connsiteX156" fmla="*/ 184359 w 432000"/>
              <a:gd name="connsiteY156" fmla="*/ 31641 h 431999"/>
              <a:gd name="connsiteX157" fmla="*/ 216000 w 432000"/>
              <a:gd name="connsiteY157" fmla="*/ 0 h 431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</a:cxnLst>
            <a:rect l="l" t="t" r="r" b="b"/>
            <a:pathLst>
              <a:path w="432000" h="431999">
                <a:moveTo>
                  <a:pt x="216000" y="381374"/>
                </a:moveTo>
                <a:cubicBezTo>
                  <a:pt x="205532" y="381374"/>
                  <a:pt x="197016" y="389891"/>
                  <a:pt x="197016" y="400359"/>
                </a:cubicBezTo>
                <a:cubicBezTo>
                  <a:pt x="197016" y="410826"/>
                  <a:pt x="205532" y="419343"/>
                  <a:pt x="216000" y="419343"/>
                </a:cubicBezTo>
                <a:cubicBezTo>
                  <a:pt x="226468" y="419343"/>
                  <a:pt x="234984" y="410826"/>
                  <a:pt x="234984" y="400359"/>
                </a:cubicBezTo>
                <a:cubicBezTo>
                  <a:pt x="234984" y="389891"/>
                  <a:pt x="226468" y="381374"/>
                  <a:pt x="216000" y="381374"/>
                </a:cubicBezTo>
                <a:close/>
                <a:moveTo>
                  <a:pt x="346362" y="327458"/>
                </a:moveTo>
                <a:cubicBezTo>
                  <a:pt x="341477" y="327458"/>
                  <a:pt x="336592" y="329285"/>
                  <a:pt x="332938" y="332939"/>
                </a:cubicBezTo>
                <a:cubicBezTo>
                  <a:pt x="325620" y="340256"/>
                  <a:pt x="325620" y="352468"/>
                  <a:pt x="332938" y="359785"/>
                </a:cubicBezTo>
                <a:cubicBezTo>
                  <a:pt x="340340" y="367188"/>
                  <a:pt x="352385" y="367187"/>
                  <a:pt x="359786" y="359785"/>
                </a:cubicBezTo>
                <a:cubicBezTo>
                  <a:pt x="367104" y="352468"/>
                  <a:pt x="367104" y="340256"/>
                  <a:pt x="359786" y="332939"/>
                </a:cubicBezTo>
                <a:cubicBezTo>
                  <a:pt x="356133" y="329285"/>
                  <a:pt x="351247" y="327458"/>
                  <a:pt x="346362" y="327458"/>
                </a:cubicBezTo>
                <a:close/>
                <a:moveTo>
                  <a:pt x="85638" y="327457"/>
                </a:moveTo>
                <a:cubicBezTo>
                  <a:pt x="80753" y="327458"/>
                  <a:pt x="75868" y="329285"/>
                  <a:pt x="72214" y="332938"/>
                </a:cubicBezTo>
                <a:cubicBezTo>
                  <a:pt x="64895" y="340255"/>
                  <a:pt x="64897" y="352467"/>
                  <a:pt x="72214" y="359785"/>
                </a:cubicBezTo>
                <a:cubicBezTo>
                  <a:pt x="79616" y="367186"/>
                  <a:pt x="91660" y="367187"/>
                  <a:pt x="99062" y="359784"/>
                </a:cubicBezTo>
                <a:cubicBezTo>
                  <a:pt x="106380" y="352467"/>
                  <a:pt x="106380" y="340255"/>
                  <a:pt x="99062" y="332938"/>
                </a:cubicBezTo>
                <a:cubicBezTo>
                  <a:pt x="95409" y="329284"/>
                  <a:pt x="90523" y="327457"/>
                  <a:pt x="85638" y="327457"/>
                </a:cubicBezTo>
                <a:close/>
                <a:moveTo>
                  <a:pt x="400359" y="197016"/>
                </a:moveTo>
                <a:cubicBezTo>
                  <a:pt x="389891" y="197016"/>
                  <a:pt x="381375" y="205532"/>
                  <a:pt x="381375" y="216000"/>
                </a:cubicBezTo>
                <a:cubicBezTo>
                  <a:pt x="381375" y="226468"/>
                  <a:pt x="389891" y="234984"/>
                  <a:pt x="400359" y="234984"/>
                </a:cubicBezTo>
                <a:cubicBezTo>
                  <a:pt x="410828" y="234984"/>
                  <a:pt x="419344" y="226468"/>
                  <a:pt x="419344" y="216000"/>
                </a:cubicBezTo>
                <a:cubicBezTo>
                  <a:pt x="419344" y="205532"/>
                  <a:pt x="410828" y="197016"/>
                  <a:pt x="400359" y="197016"/>
                </a:cubicBezTo>
                <a:close/>
                <a:moveTo>
                  <a:pt x="31641" y="197015"/>
                </a:moveTo>
                <a:cubicBezTo>
                  <a:pt x="21172" y="197015"/>
                  <a:pt x="12656" y="205532"/>
                  <a:pt x="12656" y="215999"/>
                </a:cubicBezTo>
                <a:cubicBezTo>
                  <a:pt x="12656" y="226467"/>
                  <a:pt x="21172" y="234984"/>
                  <a:pt x="31641" y="234984"/>
                </a:cubicBezTo>
                <a:cubicBezTo>
                  <a:pt x="42109" y="234984"/>
                  <a:pt x="50625" y="226467"/>
                  <a:pt x="50625" y="215999"/>
                </a:cubicBezTo>
                <a:cubicBezTo>
                  <a:pt x="50625" y="205532"/>
                  <a:pt x="42109" y="197015"/>
                  <a:pt x="31641" y="197015"/>
                </a:cubicBezTo>
                <a:close/>
                <a:moveTo>
                  <a:pt x="216000" y="154828"/>
                </a:moveTo>
                <a:cubicBezTo>
                  <a:pt x="219496" y="154828"/>
                  <a:pt x="222328" y="157661"/>
                  <a:pt x="222328" y="161156"/>
                </a:cubicBezTo>
                <a:lnTo>
                  <a:pt x="222328" y="168222"/>
                </a:lnTo>
                <a:cubicBezTo>
                  <a:pt x="234408" y="171086"/>
                  <a:pt x="243422" y="181963"/>
                  <a:pt x="243422" y="194906"/>
                </a:cubicBezTo>
                <a:cubicBezTo>
                  <a:pt x="243422" y="198401"/>
                  <a:pt x="240589" y="201234"/>
                  <a:pt x="237094" y="201234"/>
                </a:cubicBezTo>
                <a:cubicBezTo>
                  <a:pt x="233598" y="201234"/>
                  <a:pt x="230766" y="198401"/>
                  <a:pt x="230766" y="194906"/>
                </a:cubicBezTo>
                <a:cubicBezTo>
                  <a:pt x="230766" y="186765"/>
                  <a:pt x="224141" y="180141"/>
                  <a:pt x="216000" y="180141"/>
                </a:cubicBezTo>
                <a:cubicBezTo>
                  <a:pt x="207859" y="180141"/>
                  <a:pt x="201234" y="186765"/>
                  <a:pt x="201234" y="194906"/>
                </a:cubicBezTo>
                <a:cubicBezTo>
                  <a:pt x="201234" y="203047"/>
                  <a:pt x="207859" y="209672"/>
                  <a:pt x="216000" y="209672"/>
                </a:cubicBezTo>
                <a:cubicBezTo>
                  <a:pt x="231121" y="209672"/>
                  <a:pt x="243422" y="221974"/>
                  <a:pt x="243422" y="237094"/>
                </a:cubicBezTo>
                <a:cubicBezTo>
                  <a:pt x="243422" y="250037"/>
                  <a:pt x="234408" y="260914"/>
                  <a:pt x="222328" y="263778"/>
                </a:cubicBezTo>
                <a:lnTo>
                  <a:pt x="222328" y="270844"/>
                </a:lnTo>
                <a:cubicBezTo>
                  <a:pt x="222328" y="274338"/>
                  <a:pt x="219496" y="277172"/>
                  <a:pt x="216000" y="277172"/>
                </a:cubicBezTo>
                <a:cubicBezTo>
                  <a:pt x="212504" y="277172"/>
                  <a:pt x="209672" y="274338"/>
                  <a:pt x="209672" y="270844"/>
                </a:cubicBezTo>
                <a:lnTo>
                  <a:pt x="209672" y="263778"/>
                </a:lnTo>
                <a:cubicBezTo>
                  <a:pt x="197592" y="260914"/>
                  <a:pt x="188578" y="250037"/>
                  <a:pt x="188578" y="237094"/>
                </a:cubicBezTo>
                <a:cubicBezTo>
                  <a:pt x="188578" y="233599"/>
                  <a:pt x="191410" y="230766"/>
                  <a:pt x="194906" y="230766"/>
                </a:cubicBezTo>
                <a:cubicBezTo>
                  <a:pt x="198402" y="230766"/>
                  <a:pt x="201234" y="233599"/>
                  <a:pt x="201234" y="237094"/>
                </a:cubicBezTo>
                <a:cubicBezTo>
                  <a:pt x="201234" y="245235"/>
                  <a:pt x="207859" y="251859"/>
                  <a:pt x="216000" y="251859"/>
                </a:cubicBezTo>
                <a:cubicBezTo>
                  <a:pt x="224141" y="251859"/>
                  <a:pt x="230766" y="245235"/>
                  <a:pt x="230766" y="237094"/>
                </a:cubicBezTo>
                <a:cubicBezTo>
                  <a:pt x="230766" y="228952"/>
                  <a:pt x="224141" y="222328"/>
                  <a:pt x="216000" y="222328"/>
                </a:cubicBezTo>
                <a:cubicBezTo>
                  <a:pt x="200879" y="222328"/>
                  <a:pt x="188578" y="210026"/>
                  <a:pt x="188578" y="194906"/>
                </a:cubicBezTo>
                <a:cubicBezTo>
                  <a:pt x="188578" y="181963"/>
                  <a:pt x="197592" y="171086"/>
                  <a:pt x="209672" y="168222"/>
                </a:cubicBezTo>
                <a:lnTo>
                  <a:pt x="209672" y="161156"/>
                </a:lnTo>
                <a:cubicBezTo>
                  <a:pt x="209672" y="157661"/>
                  <a:pt x="212504" y="154828"/>
                  <a:pt x="216000" y="154828"/>
                </a:cubicBezTo>
                <a:close/>
                <a:moveTo>
                  <a:pt x="215999" y="142171"/>
                </a:moveTo>
                <a:cubicBezTo>
                  <a:pt x="175290" y="142171"/>
                  <a:pt x="142171" y="175290"/>
                  <a:pt x="142171" y="215999"/>
                </a:cubicBezTo>
                <a:cubicBezTo>
                  <a:pt x="142171" y="256709"/>
                  <a:pt x="175290" y="289828"/>
                  <a:pt x="215999" y="289828"/>
                </a:cubicBezTo>
                <a:cubicBezTo>
                  <a:pt x="256709" y="289828"/>
                  <a:pt x="289828" y="256709"/>
                  <a:pt x="289828" y="215999"/>
                </a:cubicBezTo>
                <a:cubicBezTo>
                  <a:pt x="289828" y="175290"/>
                  <a:pt x="256709" y="142171"/>
                  <a:pt x="215999" y="142171"/>
                </a:cubicBezTo>
                <a:close/>
                <a:moveTo>
                  <a:pt x="215999" y="129515"/>
                </a:moveTo>
                <a:cubicBezTo>
                  <a:pt x="263687" y="129515"/>
                  <a:pt x="302484" y="168311"/>
                  <a:pt x="302484" y="215999"/>
                </a:cubicBezTo>
                <a:cubicBezTo>
                  <a:pt x="302484" y="263687"/>
                  <a:pt x="263687" y="302484"/>
                  <a:pt x="215999" y="302484"/>
                </a:cubicBezTo>
                <a:cubicBezTo>
                  <a:pt x="168311" y="302484"/>
                  <a:pt x="129515" y="263687"/>
                  <a:pt x="129515" y="215999"/>
                </a:cubicBezTo>
                <a:cubicBezTo>
                  <a:pt x="129515" y="168311"/>
                  <a:pt x="168311" y="129515"/>
                  <a:pt x="215999" y="129515"/>
                </a:cubicBezTo>
                <a:close/>
                <a:moveTo>
                  <a:pt x="346362" y="66734"/>
                </a:moveTo>
                <a:cubicBezTo>
                  <a:pt x="341477" y="66734"/>
                  <a:pt x="336592" y="68561"/>
                  <a:pt x="332938" y="72215"/>
                </a:cubicBezTo>
                <a:cubicBezTo>
                  <a:pt x="325620" y="79532"/>
                  <a:pt x="325620" y="91744"/>
                  <a:pt x="332938" y="99061"/>
                </a:cubicBezTo>
                <a:cubicBezTo>
                  <a:pt x="340340" y="106464"/>
                  <a:pt x="352385" y="106464"/>
                  <a:pt x="359786" y="99061"/>
                </a:cubicBezTo>
                <a:cubicBezTo>
                  <a:pt x="367104" y="91744"/>
                  <a:pt x="367104" y="79532"/>
                  <a:pt x="359786" y="72215"/>
                </a:cubicBezTo>
                <a:cubicBezTo>
                  <a:pt x="356133" y="68561"/>
                  <a:pt x="351247" y="66734"/>
                  <a:pt x="346362" y="66734"/>
                </a:cubicBezTo>
                <a:close/>
                <a:moveTo>
                  <a:pt x="85638" y="66733"/>
                </a:moveTo>
                <a:cubicBezTo>
                  <a:pt x="80753" y="66733"/>
                  <a:pt x="75868" y="68560"/>
                  <a:pt x="72214" y="72214"/>
                </a:cubicBezTo>
                <a:cubicBezTo>
                  <a:pt x="64896" y="79531"/>
                  <a:pt x="64896" y="91744"/>
                  <a:pt x="72214" y="99060"/>
                </a:cubicBezTo>
                <a:cubicBezTo>
                  <a:pt x="79616" y="106463"/>
                  <a:pt x="91660" y="106463"/>
                  <a:pt x="99062" y="99060"/>
                </a:cubicBezTo>
                <a:cubicBezTo>
                  <a:pt x="106381" y="91744"/>
                  <a:pt x="106379" y="79531"/>
                  <a:pt x="99062" y="72213"/>
                </a:cubicBezTo>
                <a:cubicBezTo>
                  <a:pt x="95409" y="68560"/>
                  <a:pt x="90523" y="66733"/>
                  <a:pt x="85638" y="66733"/>
                </a:cubicBezTo>
                <a:close/>
                <a:moveTo>
                  <a:pt x="85638" y="54011"/>
                </a:moveTo>
                <a:cubicBezTo>
                  <a:pt x="93741" y="54011"/>
                  <a:pt x="101843" y="57096"/>
                  <a:pt x="108011" y="63264"/>
                </a:cubicBezTo>
                <a:cubicBezTo>
                  <a:pt x="118500" y="73752"/>
                  <a:pt x="120265" y="90704"/>
                  <a:pt x="112041" y="103090"/>
                </a:cubicBezTo>
                <a:lnTo>
                  <a:pt x="141552" y="132601"/>
                </a:lnTo>
                <a:cubicBezTo>
                  <a:pt x="146977" y="127754"/>
                  <a:pt x="152877" y="123427"/>
                  <a:pt x="159167" y="119707"/>
                </a:cubicBezTo>
                <a:cubicBezTo>
                  <a:pt x="162176" y="117928"/>
                  <a:pt x="166056" y="118925"/>
                  <a:pt x="167835" y="121932"/>
                </a:cubicBezTo>
                <a:cubicBezTo>
                  <a:pt x="169613" y="124940"/>
                  <a:pt x="168617" y="128821"/>
                  <a:pt x="165609" y="130600"/>
                </a:cubicBezTo>
                <a:cubicBezTo>
                  <a:pt x="151030" y="139222"/>
                  <a:pt x="138815" y="151513"/>
                  <a:pt x="130286" y="166145"/>
                </a:cubicBezTo>
                <a:cubicBezTo>
                  <a:pt x="121502" y="181212"/>
                  <a:pt x="116859" y="198452"/>
                  <a:pt x="116859" y="215999"/>
                </a:cubicBezTo>
                <a:cubicBezTo>
                  <a:pt x="116859" y="270666"/>
                  <a:pt x="161333" y="315140"/>
                  <a:pt x="215999" y="315140"/>
                </a:cubicBezTo>
                <a:cubicBezTo>
                  <a:pt x="224387" y="315140"/>
                  <a:pt x="232716" y="314092"/>
                  <a:pt x="240756" y="312026"/>
                </a:cubicBezTo>
                <a:cubicBezTo>
                  <a:pt x="244138" y="311151"/>
                  <a:pt x="247590" y="313192"/>
                  <a:pt x="248460" y="316578"/>
                </a:cubicBezTo>
                <a:cubicBezTo>
                  <a:pt x="249331" y="319964"/>
                  <a:pt x="247292" y="323413"/>
                  <a:pt x="243907" y="324283"/>
                </a:cubicBezTo>
                <a:cubicBezTo>
                  <a:pt x="236867" y="326093"/>
                  <a:pt x="229633" y="327209"/>
                  <a:pt x="222327" y="327619"/>
                </a:cubicBezTo>
                <a:lnTo>
                  <a:pt x="222327" y="369354"/>
                </a:lnTo>
                <a:cubicBezTo>
                  <a:pt x="236752" y="372294"/>
                  <a:pt x="247640" y="385078"/>
                  <a:pt x="247640" y="400359"/>
                </a:cubicBezTo>
                <a:cubicBezTo>
                  <a:pt x="247640" y="417806"/>
                  <a:pt x="233446" y="431999"/>
                  <a:pt x="215999" y="431999"/>
                </a:cubicBezTo>
                <a:cubicBezTo>
                  <a:pt x="198552" y="431999"/>
                  <a:pt x="184359" y="417806"/>
                  <a:pt x="184359" y="400359"/>
                </a:cubicBezTo>
                <a:cubicBezTo>
                  <a:pt x="184359" y="385078"/>
                  <a:pt x="195246" y="372294"/>
                  <a:pt x="209671" y="369354"/>
                </a:cubicBezTo>
                <a:lnTo>
                  <a:pt x="209671" y="327619"/>
                </a:lnTo>
                <a:cubicBezTo>
                  <a:pt x="183603" y="326158"/>
                  <a:pt x="159893" y="315724"/>
                  <a:pt x="141585" y="299363"/>
                </a:cubicBezTo>
                <a:lnTo>
                  <a:pt x="112041" y="328908"/>
                </a:lnTo>
                <a:cubicBezTo>
                  <a:pt x="120264" y="341294"/>
                  <a:pt x="118500" y="358246"/>
                  <a:pt x="108011" y="368734"/>
                </a:cubicBezTo>
                <a:cubicBezTo>
                  <a:pt x="95829" y="380906"/>
                  <a:pt x="75446" y="380917"/>
                  <a:pt x="63264" y="368735"/>
                </a:cubicBezTo>
                <a:cubicBezTo>
                  <a:pt x="51069" y="356538"/>
                  <a:pt x="51069" y="336185"/>
                  <a:pt x="63264" y="323988"/>
                </a:cubicBezTo>
                <a:cubicBezTo>
                  <a:pt x="74069" y="313184"/>
                  <a:pt x="90808" y="311842"/>
                  <a:pt x="103087" y="319963"/>
                </a:cubicBezTo>
                <a:lnTo>
                  <a:pt x="132636" y="290414"/>
                </a:lnTo>
                <a:cubicBezTo>
                  <a:pt x="116276" y="272105"/>
                  <a:pt x="105842" y="248395"/>
                  <a:pt x="104380" y="222327"/>
                </a:cubicBezTo>
                <a:lnTo>
                  <a:pt x="62645" y="222327"/>
                </a:lnTo>
                <a:cubicBezTo>
                  <a:pt x="59705" y="236752"/>
                  <a:pt x="46921" y="247640"/>
                  <a:pt x="31641" y="247640"/>
                </a:cubicBezTo>
                <a:cubicBezTo>
                  <a:pt x="14194" y="247640"/>
                  <a:pt x="0" y="233446"/>
                  <a:pt x="0" y="215999"/>
                </a:cubicBezTo>
                <a:cubicBezTo>
                  <a:pt x="0" y="198552"/>
                  <a:pt x="14194" y="184359"/>
                  <a:pt x="31641" y="184358"/>
                </a:cubicBezTo>
                <a:cubicBezTo>
                  <a:pt x="46921" y="184358"/>
                  <a:pt x="59705" y="195245"/>
                  <a:pt x="62645" y="209670"/>
                </a:cubicBezTo>
                <a:lnTo>
                  <a:pt x="104382" y="209670"/>
                </a:lnTo>
                <a:cubicBezTo>
                  <a:pt x="105376" y="192086"/>
                  <a:pt x="110501" y="174952"/>
                  <a:pt x="119353" y="159769"/>
                </a:cubicBezTo>
                <a:cubicBezTo>
                  <a:pt x="123151" y="153254"/>
                  <a:pt x="127599" y="147150"/>
                  <a:pt x="132602" y="141550"/>
                </a:cubicBezTo>
                <a:lnTo>
                  <a:pt x="103087" y="112035"/>
                </a:lnTo>
                <a:cubicBezTo>
                  <a:pt x="90704" y="120223"/>
                  <a:pt x="73751" y="118496"/>
                  <a:pt x="63264" y="108010"/>
                </a:cubicBezTo>
                <a:cubicBezTo>
                  <a:pt x="51069" y="95815"/>
                  <a:pt x="51068" y="75460"/>
                  <a:pt x="63264" y="63264"/>
                </a:cubicBezTo>
                <a:cubicBezTo>
                  <a:pt x="69433" y="57095"/>
                  <a:pt x="77535" y="54011"/>
                  <a:pt x="85638" y="54011"/>
                </a:cubicBezTo>
                <a:close/>
                <a:moveTo>
                  <a:pt x="216000" y="12656"/>
                </a:moveTo>
                <a:cubicBezTo>
                  <a:pt x="205532" y="12656"/>
                  <a:pt x="197016" y="21173"/>
                  <a:pt x="197016" y="31641"/>
                </a:cubicBezTo>
                <a:cubicBezTo>
                  <a:pt x="197016" y="42108"/>
                  <a:pt x="205532" y="50625"/>
                  <a:pt x="216000" y="50625"/>
                </a:cubicBezTo>
                <a:cubicBezTo>
                  <a:pt x="226468" y="50625"/>
                  <a:pt x="234984" y="42108"/>
                  <a:pt x="234984" y="31641"/>
                </a:cubicBezTo>
                <a:cubicBezTo>
                  <a:pt x="234984" y="21173"/>
                  <a:pt x="226468" y="12656"/>
                  <a:pt x="216000" y="12656"/>
                </a:cubicBezTo>
                <a:close/>
                <a:moveTo>
                  <a:pt x="216000" y="0"/>
                </a:moveTo>
                <a:cubicBezTo>
                  <a:pt x="233447" y="0"/>
                  <a:pt x="247641" y="14194"/>
                  <a:pt x="247641" y="31641"/>
                </a:cubicBezTo>
                <a:cubicBezTo>
                  <a:pt x="247641" y="46921"/>
                  <a:pt x="236753" y="59705"/>
                  <a:pt x="222328" y="62645"/>
                </a:cubicBezTo>
                <a:lnTo>
                  <a:pt x="222328" y="104380"/>
                </a:lnTo>
                <a:cubicBezTo>
                  <a:pt x="248396" y="105842"/>
                  <a:pt x="272106" y="116276"/>
                  <a:pt x="290414" y="132636"/>
                </a:cubicBezTo>
                <a:lnTo>
                  <a:pt x="319958" y="103091"/>
                </a:lnTo>
                <a:cubicBezTo>
                  <a:pt x="311734" y="90706"/>
                  <a:pt x="313499" y="73753"/>
                  <a:pt x="323988" y="63264"/>
                </a:cubicBezTo>
                <a:cubicBezTo>
                  <a:pt x="336325" y="50927"/>
                  <a:pt x="356398" y="50927"/>
                  <a:pt x="368735" y="63264"/>
                </a:cubicBezTo>
                <a:cubicBezTo>
                  <a:pt x="380931" y="75461"/>
                  <a:pt x="380931" y="95815"/>
                  <a:pt x="368735" y="108011"/>
                </a:cubicBezTo>
                <a:cubicBezTo>
                  <a:pt x="358249" y="118496"/>
                  <a:pt x="341294" y="120226"/>
                  <a:pt x="328913" y="112037"/>
                </a:cubicBezTo>
                <a:lnTo>
                  <a:pt x="299364" y="141585"/>
                </a:lnTo>
                <a:cubicBezTo>
                  <a:pt x="315724" y="159894"/>
                  <a:pt x="326158" y="183604"/>
                  <a:pt x="327620" y="209672"/>
                </a:cubicBezTo>
                <a:lnTo>
                  <a:pt x="369355" y="209672"/>
                </a:lnTo>
                <a:cubicBezTo>
                  <a:pt x="372295" y="195247"/>
                  <a:pt x="385079" y="184359"/>
                  <a:pt x="400359" y="184359"/>
                </a:cubicBezTo>
                <a:cubicBezTo>
                  <a:pt x="417806" y="184359"/>
                  <a:pt x="432000" y="198553"/>
                  <a:pt x="432000" y="216000"/>
                </a:cubicBezTo>
                <a:cubicBezTo>
                  <a:pt x="432000" y="233447"/>
                  <a:pt x="417806" y="247641"/>
                  <a:pt x="400359" y="247641"/>
                </a:cubicBezTo>
                <a:cubicBezTo>
                  <a:pt x="385079" y="247641"/>
                  <a:pt x="372295" y="236753"/>
                  <a:pt x="369355" y="222328"/>
                </a:cubicBezTo>
                <a:lnTo>
                  <a:pt x="327618" y="222328"/>
                </a:lnTo>
                <a:cubicBezTo>
                  <a:pt x="326624" y="239913"/>
                  <a:pt x="321499" y="257046"/>
                  <a:pt x="312647" y="272229"/>
                </a:cubicBezTo>
                <a:cubicBezTo>
                  <a:pt x="308849" y="278745"/>
                  <a:pt x="304401" y="284848"/>
                  <a:pt x="299398" y="290448"/>
                </a:cubicBezTo>
                <a:lnTo>
                  <a:pt x="328913" y="319964"/>
                </a:lnTo>
                <a:cubicBezTo>
                  <a:pt x="341191" y="311842"/>
                  <a:pt x="357930" y="313184"/>
                  <a:pt x="368735" y="323989"/>
                </a:cubicBezTo>
                <a:cubicBezTo>
                  <a:pt x="380931" y="336185"/>
                  <a:pt x="380931" y="356539"/>
                  <a:pt x="368735" y="368736"/>
                </a:cubicBezTo>
                <a:cubicBezTo>
                  <a:pt x="356557" y="380913"/>
                  <a:pt x="336166" y="380913"/>
                  <a:pt x="323988" y="368736"/>
                </a:cubicBezTo>
                <a:cubicBezTo>
                  <a:pt x="313499" y="358247"/>
                  <a:pt x="311734" y="341294"/>
                  <a:pt x="319958" y="328909"/>
                </a:cubicBezTo>
                <a:lnTo>
                  <a:pt x="290448" y="299398"/>
                </a:lnTo>
                <a:cubicBezTo>
                  <a:pt x="285023" y="304245"/>
                  <a:pt x="279123" y="308572"/>
                  <a:pt x="272833" y="312292"/>
                </a:cubicBezTo>
                <a:cubicBezTo>
                  <a:pt x="269864" y="314050"/>
                  <a:pt x="265920" y="313033"/>
                  <a:pt x="264165" y="310067"/>
                </a:cubicBezTo>
                <a:cubicBezTo>
                  <a:pt x="262387" y="307059"/>
                  <a:pt x="263383" y="303178"/>
                  <a:pt x="266391" y="301399"/>
                </a:cubicBezTo>
                <a:cubicBezTo>
                  <a:pt x="280970" y="292777"/>
                  <a:pt x="293185" y="280486"/>
                  <a:pt x="301714" y="265855"/>
                </a:cubicBezTo>
                <a:cubicBezTo>
                  <a:pt x="310498" y="250787"/>
                  <a:pt x="315141" y="233547"/>
                  <a:pt x="315141" y="216000"/>
                </a:cubicBezTo>
                <a:cubicBezTo>
                  <a:pt x="315141" y="161333"/>
                  <a:pt x="270667" y="116859"/>
                  <a:pt x="216001" y="116859"/>
                </a:cubicBezTo>
                <a:cubicBezTo>
                  <a:pt x="207613" y="116859"/>
                  <a:pt x="199284" y="117907"/>
                  <a:pt x="191244" y="119974"/>
                </a:cubicBezTo>
                <a:cubicBezTo>
                  <a:pt x="187860" y="120844"/>
                  <a:pt x="184410" y="118806"/>
                  <a:pt x="183540" y="115421"/>
                </a:cubicBezTo>
                <a:cubicBezTo>
                  <a:pt x="182669" y="112036"/>
                  <a:pt x="184708" y="108586"/>
                  <a:pt x="188093" y="107717"/>
                </a:cubicBezTo>
                <a:cubicBezTo>
                  <a:pt x="195133" y="105907"/>
                  <a:pt x="202367" y="104790"/>
                  <a:pt x="209672" y="104380"/>
                </a:cubicBezTo>
                <a:lnTo>
                  <a:pt x="209672" y="62645"/>
                </a:lnTo>
                <a:cubicBezTo>
                  <a:pt x="195247" y="59705"/>
                  <a:pt x="184359" y="46921"/>
                  <a:pt x="184359" y="31641"/>
                </a:cubicBezTo>
                <a:cubicBezTo>
                  <a:pt x="184359" y="14194"/>
                  <a:pt x="198553" y="0"/>
                  <a:pt x="216000" y="0"/>
                </a:cubicBezTo>
                <a:close/>
              </a:path>
            </a:pathLst>
          </a:custGeom>
          <a:solidFill>
            <a:schemeClr val="accent4"/>
          </a:solidFill>
          <a:ln w="837" cap="flat">
            <a:noFill/>
            <a:prstDash val="solid"/>
            <a:miter/>
          </a:ln>
        </p:spPr>
        <p:txBody>
          <a:bodyPr rtlCol="0" anchor="ctr"/>
          <a:lstStyle/>
          <a:p>
            <a:pPr defTabSz="685739"/>
            <a:endParaRPr lang="en-GB" sz="1350" dirty="0">
              <a:solidFill>
                <a:srgbClr val="000000"/>
              </a:solidFill>
            </a:endParaRPr>
          </a:p>
        </p:txBody>
      </p:sp>
      <p:sp>
        <p:nvSpPr>
          <p:cNvPr id="76" name="Graphic 57">
            <a:extLst>
              <a:ext uri="{FF2B5EF4-FFF2-40B4-BE49-F238E27FC236}">
                <a16:creationId xmlns:a16="http://schemas.microsoft.com/office/drawing/2014/main" id="{C4A169F3-A1EF-BE4C-6CE5-380FF973775D}"/>
              </a:ext>
            </a:extLst>
          </p:cNvPr>
          <p:cNvSpPr/>
          <p:nvPr/>
        </p:nvSpPr>
        <p:spPr>
          <a:xfrm>
            <a:off x="4879817" y="1349918"/>
            <a:ext cx="343449" cy="361752"/>
          </a:xfrm>
          <a:custGeom>
            <a:avLst/>
            <a:gdLst>
              <a:gd name="connsiteX0" fmla="*/ 209646 w 408538"/>
              <a:gd name="connsiteY0" fmla="*/ 66761 h 430311"/>
              <a:gd name="connsiteX1" fmla="*/ 191985 w 408538"/>
              <a:gd name="connsiteY1" fmla="*/ 49100 h 430311"/>
              <a:gd name="connsiteX2" fmla="*/ 174324 w 408538"/>
              <a:gd name="connsiteY2" fmla="*/ 66761 h 430311"/>
              <a:gd name="connsiteX3" fmla="*/ 191985 w 408538"/>
              <a:gd name="connsiteY3" fmla="*/ 84423 h 430311"/>
              <a:gd name="connsiteX4" fmla="*/ 209646 w 408538"/>
              <a:gd name="connsiteY4" fmla="*/ 66761 h 430311"/>
              <a:gd name="connsiteX5" fmla="*/ 191985 w 408538"/>
              <a:gd name="connsiteY5" fmla="*/ 70922 h 430311"/>
              <a:gd name="connsiteX6" fmla="*/ 187824 w 408538"/>
              <a:gd name="connsiteY6" fmla="*/ 66760 h 430311"/>
              <a:gd name="connsiteX7" fmla="*/ 191985 w 408538"/>
              <a:gd name="connsiteY7" fmla="*/ 62599 h 430311"/>
              <a:gd name="connsiteX8" fmla="*/ 196146 w 408538"/>
              <a:gd name="connsiteY8" fmla="*/ 66760 h 430311"/>
              <a:gd name="connsiteX9" fmla="*/ 191985 w 408538"/>
              <a:gd name="connsiteY9" fmla="*/ 70922 h 430311"/>
              <a:gd name="connsiteX10" fmla="*/ 408266 w 408538"/>
              <a:gd name="connsiteY10" fmla="*/ 323976 h 430311"/>
              <a:gd name="connsiteX11" fmla="*/ 380002 w 408538"/>
              <a:gd name="connsiteY11" fmla="*/ 182099 h 430311"/>
              <a:gd name="connsiteX12" fmla="*/ 363549 w 408538"/>
              <a:gd name="connsiteY12" fmla="*/ 171113 h 430311"/>
              <a:gd name="connsiteX13" fmla="*/ 327180 w 408538"/>
              <a:gd name="connsiteY13" fmla="*/ 178359 h 430311"/>
              <a:gd name="connsiteX14" fmla="*/ 318286 w 408538"/>
              <a:gd name="connsiteY14" fmla="*/ 184315 h 430311"/>
              <a:gd name="connsiteX15" fmla="*/ 316193 w 408538"/>
              <a:gd name="connsiteY15" fmla="*/ 194811 h 430311"/>
              <a:gd name="connsiteX16" fmla="*/ 316481 w 408538"/>
              <a:gd name="connsiteY16" fmla="*/ 196258 h 430311"/>
              <a:gd name="connsiteX17" fmla="*/ 274706 w 408538"/>
              <a:gd name="connsiteY17" fmla="*/ 199000 h 430311"/>
              <a:gd name="connsiteX18" fmla="*/ 281856 w 408538"/>
              <a:gd name="connsiteY18" fmla="*/ 189712 h 430311"/>
              <a:gd name="connsiteX19" fmla="*/ 283258 w 408538"/>
              <a:gd name="connsiteY19" fmla="*/ 185594 h 430311"/>
              <a:gd name="connsiteX20" fmla="*/ 283258 w 408538"/>
              <a:gd name="connsiteY20" fmla="*/ 107681 h 430311"/>
              <a:gd name="connsiteX21" fmla="*/ 248151 w 408538"/>
              <a:gd name="connsiteY21" fmla="*/ 36936 h 430311"/>
              <a:gd name="connsiteX22" fmla="*/ 201327 w 408538"/>
              <a:gd name="connsiteY22" fmla="*/ 1375 h 430311"/>
              <a:gd name="connsiteX23" fmla="*/ 194931 w 408538"/>
              <a:gd name="connsiteY23" fmla="*/ 409 h 430311"/>
              <a:gd name="connsiteX24" fmla="*/ 190659 w 408538"/>
              <a:gd name="connsiteY24" fmla="*/ 5266 h 430311"/>
              <a:gd name="connsiteX25" fmla="*/ 186374 w 408538"/>
              <a:gd name="connsiteY25" fmla="*/ 24285 h 430311"/>
              <a:gd name="connsiteX26" fmla="*/ 175602 w 408538"/>
              <a:gd name="connsiteY26" fmla="*/ 24285 h 430311"/>
              <a:gd name="connsiteX27" fmla="*/ 170351 w 408538"/>
              <a:gd name="connsiteY27" fmla="*/ 26794 h 430311"/>
              <a:gd name="connsiteX28" fmla="*/ 121723 w 408538"/>
              <a:gd name="connsiteY28" fmla="*/ 86990 h 430311"/>
              <a:gd name="connsiteX29" fmla="*/ 120306 w 408538"/>
              <a:gd name="connsiteY29" fmla="*/ 92282 h 430311"/>
              <a:gd name="connsiteX30" fmla="*/ 122939 w 408538"/>
              <a:gd name="connsiteY30" fmla="*/ 108996 h 430311"/>
              <a:gd name="connsiteX31" fmla="*/ 125962 w 408538"/>
              <a:gd name="connsiteY31" fmla="*/ 113627 h 430311"/>
              <a:gd name="connsiteX32" fmla="*/ 143645 w 408538"/>
              <a:gd name="connsiteY32" fmla="*/ 124971 h 430311"/>
              <a:gd name="connsiteX33" fmla="*/ 152124 w 408538"/>
              <a:gd name="connsiteY33" fmla="*/ 124000 h 430311"/>
              <a:gd name="connsiteX34" fmla="*/ 185711 w 408538"/>
              <a:gd name="connsiteY34" fmla="*/ 111100 h 430311"/>
              <a:gd name="connsiteX35" fmla="*/ 137803 w 408538"/>
              <a:gd name="connsiteY35" fmla="*/ 181807 h 430311"/>
              <a:gd name="connsiteX36" fmla="*/ 137925 w 408538"/>
              <a:gd name="connsiteY36" fmla="*/ 189530 h 430311"/>
              <a:gd name="connsiteX37" fmla="*/ 92379 w 408538"/>
              <a:gd name="connsiteY37" fmla="*/ 189530 h 430311"/>
              <a:gd name="connsiteX38" fmla="*/ 90254 w 408538"/>
              <a:gd name="connsiteY38" fmla="*/ 184314 h 430311"/>
              <a:gd name="connsiteX39" fmla="*/ 81360 w 408538"/>
              <a:gd name="connsiteY39" fmla="*/ 178359 h 430311"/>
              <a:gd name="connsiteX40" fmla="*/ 81361 w 408538"/>
              <a:gd name="connsiteY40" fmla="*/ 178359 h 430311"/>
              <a:gd name="connsiteX41" fmla="*/ 44989 w 408538"/>
              <a:gd name="connsiteY41" fmla="*/ 171113 h 430311"/>
              <a:gd name="connsiteX42" fmla="*/ 28537 w 408538"/>
              <a:gd name="connsiteY42" fmla="*/ 182099 h 430311"/>
              <a:gd name="connsiteX43" fmla="*/ 272 w 408538"/>
              <a:gd name="connsiteY43" fmla="*/ 323975 h 430311"/>
              <a:gd name="connsiteX44" fmla="*/ 2365 w 408538"/>
              <a:gd name="connsiteY44" fmla="*/ 334471 h 430311"/>
              <a:gd name="connsiteX45" fmla="*/ 11259 w 408538"/>
              <a:gd name="connsiteY45" fmla="*/ 340427 h 430311"/>
              <a:gd name="connsiteX46" fmla="*/ 47630 w 408538"/>
              <a:gd name="connsiteY46" fmla="*/ 347673 h 430311"/>
              <a:gd name="connsiteX47" fmla="*/ 50367 w 408538"/>
              <a:gd name="connsiteY47" fmla="*/ 347944 h 430311"/>
              <a:gd name="connsiteX48" fmla="*/ 64082 w 408538"/>
              <a:gd name="connsiteY48" fmla="*/ 336687 h 430311"/>
              <a:gd name="connsiteX49" fmla="*/ 64125 w 408538"/>
              <a:gd name="connsiteY49" fmla="*/ 336470 h 430311"/>
              <a:gd name="connsiteX50" fmla="*/ 149929 w 408538"/>
              <a:gd name="connsiteY50" fmla="*/ 422274 h 430311"/>
              <a:gd name="connsiteX51" fmla="*/ 169396 w 408538"/>
              <a:gd name="connsiteY51" fmla="*/ 430311 h 430311"/>
              <a:gd name="connsiteX52" fmla="*/ 169397 w 408538"/>
              <a:gd name="connsiteY52" fmla="*/ 430311 h 430311"/>
              <a:gd name="connsiteX53" fmla="*/ 188863 w 408538"/>
              <a:gd name="connsiteY53" fmla="*/ 422274 h 430311"/>
              <a:gd name="connsiteX54" fmla="*/ 196061 w 408538"/>
              <a:gd name="connsiteY54" fmla="*/ 409628 h 430311"/>
              <a:gd name="connsiteX55" fmla="*/ 207609 w 408538"/>
              <a:gd name="connsiteY55" fmla="*/ 421175 h 430311"/>
              <a:gd name="connsiteX56" fmla="*/ 246544 w 408538"/>
              <a:gd name="connsiteY56" fmla="*/ 421173 h 430311"/>
              <a:gd name="connsiteX57" fmla="*/ 253748 w 408538"/>
              <a:gd name="connsiteY57" fmla="*/ 408509 h 430311"/>
              <a:gd name="connsiteX58" fmla="*/ 291964 w 408538"/>
              <a:gd name="connsiteY58" fmla="*/ 407815 h 430311"/>
              <a:gd name="connsiteX59" fmla="*/ 299947 w 408538"/>
              <a:gd name="connsiteY59" fmla="*/ 386408 h 430311"/>
              <a:gd name="connsiteX60" fmla="*/ 321353 w 408538"/>
              <a:gd name="connsiteY60" fmla="*/ 378425 h 430311"/>
              <a:gd name="connsiteX61" fmla="*/ 328165 w 408538"/>
              <a:gd name="connsiteY61" fmla="*/ 350885 h 430311"/>
              <a:gd name="connsiteX62" fmla="*/ 344108 w 408538"/>
              <a:gd name="connsiteY62" fmla="*/ 334942 h 430311"/>
              <a:gd name="connsiteX63" fmla="*/ 344456 w 408538"/>
              <a:gd name="connsiteY63" fmla="*/ 336686 h 430311"/>
              <a:gd name="connsiteX64" fmla="*/ 358171 w 408538"/>
              <a:gd name="connsiteY64" fmla="*/ 347944 h 430311"/>
              <a:gd name="connsiteX65" fmla="*/ 360908 w 408538"/>
              <a:gd name="connsiteY65" fmla="*/ 347673 h 430311"/>
              <a:gd name="connsiteX66" fmla="*/ 397279 w 408538"/>
              <a:gd name="connsiteY66" fmla="*/ 340427 h 430311"/>
              <a:gd name="connsiteX67" fmla="*/ 406173 w 408538"/>
              <a:gd name="connsiteY67" fmla="*/ 334471 h 430311"/>
              <a:gd name="connsiteX68" fmla="*/ 408266 w 408538"/>
              <a:gd name="connsiteY68" fmla="*/ 323976 h 430311"/>
              <a:gd name="connsiteX69" fmla="*/ 151715 w 408538"/>
              <a:gd name="connsiteY69" fmla="*/ 185342 h 430311"/>
              <a:gd name="connsiteX70" fmla="*/ 202102 w 408538"/>
              <a:gd name="connsiteY70" fmla="*/ 110977 h 430311"/>
              <a:gd name="connsiteX71" fmla="*/ 202991 w 408538"/>
              <a:gd name="connsiteY71" fmla="*/ 105291 h 430311"/>
              <a:gd name="connsiteX72" fmla="*/ 199172 w 408538"/>
              <a:gd name="connsiteY72" fmla="*/ 100986 h 430311"/>
              <a:gd name="connsiteX73" fmla="*/ 146503 w 408538"/>
              <a:gd name="connsiteY73" fmla="*/ 110765 h 430311"/>
              <a:gd name="connsiteX74" fmla="*/ 135804 w 408538"/>
              <a:gd name="connsiteY74" fmla="*/ 103901 h 430311"/>
              <a:gd name="connsiteX75" fmla="*/ 134108 w 408538"/>
              <a:gd name="connsiteY75" fmla="*/ 93142 h 430311"/>
              <a:gd name="connsiteX76" fmla="*/ 178826 w 408538"/>
              <a:gd name="connsiteY76" fmla="*/ 37786 h 430311"/>
              <a:gd name="connsiteX77" fmla="*/ 191772 w 408538"/>
              <a:gd name="connsiteY77" fmla="*/ 37786 h 430311"/>
              <a:gd name="connsiteX78" fmla="*/ 198356 w 408538"/>
              <a:gd name="connsiteY78" fmla="*/ 32520 h 430311"/>
              <a:gd name="connsiteX79" fmla="*/ 201522 w 408538"/>
              <a:gd name="connsiteY79" fmla="*/ 18475 h 430311"/>
              <a:gd name="connsiteX80" fmla="*/ 239985 w 408538"/>
              <a:gd name="connsiteY80" fmla="*/ 47687 h 430311"/>
              <a:gd name="connsiteX81" fmla="*/ 269758 w 408538"/>
              <a:gd name="connsiteY81" fmla="*/ 107681 h 430311"/>
              <a:gd name="connsiteX82" fmla="*/ 269758 w 408538"/>
              <a:gd name="connsiteY82" fmla="*/ 183297 h 430311"/>
              <a:gd name="connsiteX83" fmla="*/ 261191 w 408538"/>
              <a:gd name="connsiteY83" fmla="*/ 194426 h 430311"/>
              <a:gd name="connsiteX84" fmla="*/ 235857 w 408538"/>
              <a:gd name="connsiteY84" fmla="*/ 178339 h 430311"/>
              <a:gd name="connsiteX85" fmla="*/ 186713 w 408538"/>
              <a:gd name="connsiteY85" fmla="*/ 177324 h 430311"/>
              <a:gd name="connsiteX86" fmla="*/ 172094 w 408538"/>
              <a:gd name="connsiteY86" fmla="*/ 189530 h 430311"/>
              <a:gd name="connsiteX87" fmla="*/ 154941 w 408538"/>
              <a:gd name="connsiteY87" fmla="*/ 189530 h 430311"/>
              <a:gd name="connsiteX88" fmla="*/ 50267 w 408538"/>
              <a:gd name="connsiteY88" fmla="*/ 334433 h 430311"/>
              <a:gd name="connsiteX89" fmla="*/ 13896 w 408538"/>
              <a:gd name="connsiteY89" fmla="*/ 327188 h 430311"/>
              <a:gd name="connsiteX90" fmla="*/ 13593 w 408538"/>
              <a:gd name="connsiteY90" fmla="*/ 326975 h 430311"/>
              <a:gd name="connsiteX91" fmla="*/ 13512 w 408538"/>
              <a:gd name="connsiteY91" fmla="*/ 326614 h 430311"/>
              <a:gd name="connsiteX92" fmla="*/ 41776 w 408538"/>
              <a:gd name="connsiteY92" fmla="*/ 184737 h 430311"/>
              <a:gd name="connsiteX93" fmla="*/ 42267 w 408538"/>
              <a:gd name="connsiteY93" fmla="*/ 184345 h 430311"/>
              <a:gd name="connsiteX94" fmla="*/ 42352 w 408538"/>
              <a:gd name="connsiteY94" fmla="*/ 184353 h 430311"/>
              <a:gd name="connsiteX95" fmla="*/ 78723 w 408538"/>
              <a:gd name="connsiteY95" fmla="*/ 191599 h 430311"/>
              <a:gd name="connsiteX96" fmla="*/ 78723 w 408538"/>
              <a:gd name="connsiteY96" fmla="*/ 191599 h 430311"/>
              <a:gd name="connsiteX97" fmla="*/ 79027 w 408538"/>
              <a:gd name="connsiteY97" fmla="*/ 191812 h 430311"/>
              <a:gd name="connsiteX98" fmla="*/ 79107 w 408538"/>
              <a:gd name="connsiteY98" fmla="*/ 192174 h 430311"/>
              <a:gd name="connsiteX99" fmla="*/ 50843 w 408538"/>
              <a:gd name="connsiteY99" fmla="*/ 334049 h 430311"/>
              <a:gd name="connsiteX100" fmla="*/ 50267 w 408538"/>
              <a:gd name="connsiteY100" fmla="*/ 334433 h 430311"/>
              <a:gd name="connsiteX101" fmla="*/ 311808 w 408538"/>
              <a:gd name="connsiteY101" fmla="*/ 368879 h 430311"/>
              <a:gd name="connsiteX102" fmla="*/ 301885 w 408538"/>
              <a:gd name="connsiteY102" fmla="*/ 372966 h 430311"/>
              <a:gd name="connsiteX103" fmla="*/ 291969 w 408538"/>
              <a:gd name="connsiteY103" fmla="*/ 368885 h 430311"/>
              <a:gd name="connsiteX104" fmla="*/ 291964 w 408538"/>
              <a:gd name="connsiteY104" fmla="*/ 368880 h 430311"/>
              <a:gd name="connsiteX105" fmla="*/ 230088 w 408538"/>
              <a:gd name="connsiteY105" fmla="*/ 307002 h 430311"/>
              <a:gd name="connsiteX106" fmla="*/ 220542 w 408538"/>
              <a:gd name="connsiteY106" fmla="*/ 307002 h 430311"/>
              <a:gd name="connsiteX107" fmla="*/ 220542 w 408538"/>
              <a:gd name="connsiteY107" fmla="*/ 316548 h 430311"/>
              <a:gd name="connsiteX108" fmla="*/ 282411 w 408538"/>
              <a:gd name="connsiteY108" fmla="*/ 378418 h 430311"/>
              <a:gd name="connsiteX109" fmla="*/ 282419 w 408538"/>
              <a:gd name="connsiteY109" fmla="*/ 378427 h 430311"/>
              <a:gd name="connsiteX110" fmla="*/ 282420 w 408538"/>
              <a:gd name="connsiteY110" fmla="*/ 398269 h 430311"/>
              <a:gd name="connsiteX111" fmla="*/ 262576 w 408538"/>
              <a:gd name="connsiteY111" fmla="*/ 398271 h 430311"/>
              <a:gd name="connsiteX112" fmla="*/ 197192 w 408538"/>
              <a:gd name="connsiteY112" fmla="*/ 332887 h 430311"/>
              <a:gd name="connsiteX113" fmla="*/ 187646 w 408538"/>
              <a:gd name="connsiteY113" fmla="*/ 332888 h 430311"/>
              <a:gd name="connsiteX114" fmla="*/ 187647 w 408538"/>
              <a:gd name="connsiteY114" fmla="*/ 342433 h 430311"/>
              <a:gd name="connsiteX115" fmla="*/ 236999 w 408538"/>
              <a:gd name="connsiteY115" fmla="*/ 391784 h 430311"/>
              <a:gd name="connsiteX116" fmla="*/ 236999 w 408538"/>
              <a:gd name="connsiteY116" fmla="*/ 391785 h 430311"/>
              <a:gd name="connsiteX117" fmla="*/ 236999 w 408538"/>
              <a:gd name="connsiteY117" fmla="*/ 411628 h 430311"/>
              <a:gd name="connsiteX118" fmla="*/ 217156 w 408538"/>
              <a:gd name="connsiteY118" fmla="*/ 411629 h 430311"/>
              <a:gd name="connsiteX119" fmla="*/ 164298 w 408538"/>
              <a:gd name="connsiteY119" fmla="*/ 358771 h 430311"/>
              <a:gd name="connsiteX120" fmla="*/ 154753 w 408538"/>
              <a:gd name="connsiteY120" fmla="*/ 358771 h 430311"/>
              <a:gd name="connsiteX121" fmla="*/ 154752 w 408538"/>
              <a:gd name="connsiteY121" fmla="*/ 368316 h 430311"/>
              <a:gd name="connsiteX122" fmla="*/ 179319 w 408538"/>
              <a:gd name="connsiteY122" fmla="*/ 392884 h 430311"/>
              <a:gd name="connsiteX123" fmla="*/ 179319 w 408538"/>
              <a:gd name="connsiteY123" fmla="*/ 412728 h 430311"/>
              <a:gd name="connsiteX124" fmla="*/ 169398 w 408538"/>
              <a:gd name="connsiteY124" fmla="*/ 416812 h 430311"/>
              <a:gd name="connsiteX125" fmla="*/ 159476 w 408538"/>
              <a:gd name="connsiteY125" fmla="*/ 412727 h 430311"/>
              <a:gd name="connsiteX126" fmla="*/ 67297 w 408538"/>
              <a:gd name="connsiteY126" fmla="*/ 320550 h 430311"/>
              <a:gd name="connsiteX127" fmla="*/ 90710 w 408538"/>
              <a:gd name="connsiteY127" fmla="*/ 203031 h 430311"/>
              <a:gd name="connsiteX128" fmla="*/ 155924 w 408538"/>
              <a:gd name="connsiteY128" fmla="*/ 203031 h 430311"/>
              <a:gd name="connsiteX129" fmla="*/ 137943 w 408538"/>
              <a:gd name="connsiteY129" fmla="*/ 218043 h 430311"/>
              <a:gd name="connsiteX130" fmla="*/ 128269 w 408538"/>
              <a:gd name="connsiteY130" fmla="*/ 243715 h 430311"/>
              <a:gd name="connsiteX131" fmla="*/ 143064 w 408538"/>
              <a:gd name="connsiteY131" fmla="*/ 311507 h 430311"/>
              <a:gd name="connsiteX132" fmla="*/ 146089 w 408538"/>
              <a:gd name="connsiteY132" fmla="*/ 315797 h 430311"/>
              <a:gd name="connsiteX133" fmla="*/ 151274 w 408538"/>
              <a:gd name="connsiteY133" fmla="*/ 316622 h 430311"/>
              <a:gd name="connsiteX134" fmla="*/ 187821 w 408538"/>
              <a:gd name="connsiteY134" fmla="*/ 290261 h 430311"/>
              <a:gd name="connsiteX135" fmla="*/ 195982 w 408538"/>
              <a:gd name="connsiteY135" fmla="*/ 251899 h 430311"/>
              <a:gd name="connsiteX136" fmla="*/ 196456 w 408538"/>
              <a:gd name="connsiteY136" fmla="*/ 246627 h 430311"/>
              <a:gd name="connsiteX137" fmla="*/ 196470 w 408538"/>
              <a:gd name="connsiteY137" fmla="*/ 246538 h 430311"/>
              <a:gd name="connsiteX138" fmla="*/ 225620 w 408538"/>
              <a:gd name="connsiteY138" fmla="*/ 262850 h 430311"/>
              <a:gd name="connsiteX139" fmla="*/ 314662 w 408538"/>
              <a:gd name="connsiteY139" fmla="*/ 353190 h 430311"/>
              <a:gd name="connsiteX140" fmla="*/ 311808 w 408538"/>
              <a:gd name="connsiteY140" fmla="*/ 368879 h 430311"/>
              <a:gd name="connsiteX141" fmla="*/ 320291 w 408538"/>
              <a:gd name="connsiteY141" fmla="*/ 339669 h 430311"/>
              <a:gd name="connsiteX142" fmla="*/ 235105 w 408538"/>
              <a:gd name="connsiteY142" fmla="*/ 253241 h 430311"/>
              <a:gd name="connsiteX143" fmla="*/ 234843 w 408538"/>
              <a:gd name="connsiteY143" fmla="*/ 252990 h 430311"/>
              <a:gd name="connsiteX144" fmla="*/ 191522 w 408538"/>
              <a:gd name="connsiteY144" fmla="*/ 233972 h 430311"/>
              <a:gd name="connsiteX145" fmla="*/ 183041 w 408538"/>
              <a:gd name="connsiteY145" fmla="*/ 245098 h 430311"/>
              <a:gd name="connsiteX146" fmla="*/ 183024 w 408538"/>
              <a:gd name="connsiteY146" fmla="*/ 245257 h 430311"/>
              <a:gd name="connsiteX147" fmla="*/ 182532 w 408538"/>
              <a:gd name="connsiteY147" fmla="*/ 250713 h 430311"/>
              <a:gd name="connsiteX148" fmla="*/ 154705 w 408538"/>
              <a:gd name="connsiteY148" fmla="*/ 301533 h 430311"/>
              <a:gd name="connsiteX149" fmla="*/ 141459 w 408538"/>
              <a:gd name="connsiteY149" fmla="*/ 240835 h 430311"/>
              <a:gd name="connsiteX150" fmla="*/ 146594 w 408538"/>
              <a:gd name="connsiteY150" fmla="*/ 228406 h 430311"/>
              <a:gd name="connsiteX151" fmla="*/ 195363 w 408538"/>
              <a:gd name="connsiteY151" fmla="*/ 187687 h 430311"/>
              <a:gd name="connsiteX152" fmla="*/ 227265 w 408538"/>
              <a:gd name="connsiteY152" fmla="*/ 188752 h 430311"/>
              <a:gd name="connsiteX153" fmla="*/ 319136 w 408538"/>
              <a:gd name="connsiteY153" fmla="*/ 209585 h 430311"/>
              <a:gd name="connsiteX154" fmla="*/ 340938 w 408538"/>
              <a:gd name="connsiteY154" fmla="*/ 319023 h 430311"/>
              <a:gd name="connsiteX155" fmla="*/ 394947 w 408538"/>
              <a:gd name="connsiteY155" fmla="*/ 326975 h 430311"/>
              <a:gd name="connsiteX156" fmla="*/ 394644 w 408538"/>
              <a:gd name="connsiteY156" fmla="*/ 327188 h 430311"/>
              <a:gd name="connsiteX157" fmla="*/ 358273 w 408538"/>
              <a:gd name="connsiteY157" fmla="*/ 334433 h 430311"/>
              <a:gd name="connsiteX158" fmla="*/ 357697 w 408538"/>
              <a:gd name="connsiteY158" fmla="*/ 334049 h 430311"/>
              <a:gd name="connsiteX159" fmla="*/ 329433 w 408538"/>
              <a:gd name="connsiteY159" fmla="*/ 192174 h 430311"/>
              <a:gd name="connsiteX160" fmla="*/ 329513 w 408538"/>
              <a:gd name="connsiteY160" fmla="*/ 191812 h 430311"/>
              <a:gd name="connsiteX161" fmla="*/ 329817 w 408538"/>
              <a:gd name="connsiteY161" fmla="*/ 191599 h 430311"/>
              <a:gd name="connsiteX162" fmla="*/ 329818 w 408538"/>
              <a:gd name="connsiteY162" fmla="*/ 191599 h 430311"/>
              <a:gd name="connsiteX163" fmla="*/ 366187 w 408538"/>
              <a:gd name="connsiteY163" fmla="*/ 184353 h 430311"/>
              <a:gd name="connsiteX164" fmla="*/ 366272 w 408538"/>
              <a:gd name="connsiteY164" fmla="*/ 184345 h 430311"/>
              <a:gd name="connsiteX165" fmla="*/ 366763 w 408538"/>
              <a:gd name="connsiteY165" fmla="*/ 184737 h 430311"/>
              <a:gd name="connsiteX166" fmla="*/ 395027 w 408538"/>
              <a:gd name="connsiteY166" fmla="*/ 326614 h 430311"/>
              <a:gd name="connsiteX167" fmla="*/ 394947 w 408538"/>
              <a:gd name="connsiteY167" fmla="*/ 326975 h 4303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</a:cxnLst>
            <a:rect l="l" t="t" r="r" b="b"/>
            <a:pathLst>
              <a:path w="408538" h="430311">
                <a:moveTo>
                  <a:pt x="209646" y="66761"/>
                </a:moveTo>
                <a:cubicBezTo>
                  <a:pt x="209646" y="57023"/>
                  <a:pt x="201724" y="49100"/>
                  <a:pt x="191985" y="49100"/>
                </a:cubicBezTo>
                <a:cubicBezTo>
                  <a:pt x="182247" y="49100"/>
                  <a:pt x="174324" y="57023"/>
                  <a:pt x="174324" y="66761"/>
                </a:cubicBezTo>
                <a:cubicBezTo>
                  <a:pt x="174324" y="76500"/>
                  <a:pt x="182247" y="84423"/>
                  <a:pt x="191985" y="84423"/>
                </a:cubicBezTo>
                <a:cubicBezTo>
                  <a:pt x="201724" y="84422"/>
                  <a:pt x="209646" y="76499"/>
                  <a:pt x="209646" y="66761"/>
                </a:cubicBezTo>
                <a:close/>
                <a:moveTo>
                  <a:pt x="191985" y="70922"/>
                </a:moveTo>
                <a:cubicBezTo>
                  <a:pt x="189691" y="70922"/>
                  <a:pt x="187824" y="69055"/>
                  <a:pt x="187824" y="66760"/>
                </a:cubicBezTo>
                <a:cubicBezTo>
                  <a:pt x="187824" y="64465"/>
                  <a:pt x="189691" y="62599"/>
                  <a:pt x="191985" y="62599"/>
                </a:cubicBezTo>
                <a:cubicBezTo>
                  <a:pt x="194280" y="62599"/>
                  <a:pt x="196146" y="64465"/>
                  <a:pt x="196146" y="66760"/>
                </a:cubicBezTo>
                <a:cubicBezTo>
                  <a:pt x="196146" y="69055"/>
                  <a:pt x="194280" y="70922"/>
                  <a:pt x="191985" y="70922"/>
                </a:cubicBezTo>
                <a:close/>
                <a:moveTo>
                  <a:pt x="408266" y="323976"/>
                </a:moveTo>
                <a:lnTo>
                  <a:pt x="380002" y="182099"/>
                </a:lnTo>
                <a:cubicBezTo>
                  <a:pt x="378495" y="174534"/>
                  <a:pt x="371117" y="169609"/>
                  <a:pt x="363549" y="171113"/>
                </a:cubicBezTo>
                <a:lnTo>
                  <a:pt x="327180" y="178359"/>
                </a:lnTo>
                <a:cubicBezTo>
                  <a:pt x="323522" y="179087"/>
                  <a:pt x="320364" y="181202"/>
                  <a:pt x="318286" y="184315"/>
                </a:cubicBezTo>
                <a:cubicBezTo>
                  <a:pt x="316208" y="187427"/>
                  <a:pt x="315464" y="191155"/>
                  <a:pt x="316193" y="194811"/>
                </a:cubicBezTo>
                <a:lnTo>
                  <a:pt x="316481" y="196258"/>
                </a:lnTo>
                <a:cubicBezTo>
                  <a:pt x="304166" y="200308"/>
                  <a:pt x="290347" y="202672"/>
                  <a:pt x="274706" y="199000"/>
                </a:cubicBezTo>
                <a:lnTo>
                  <a:pt x="281856" y="189712"/>
                </a:lnTo>
                <a:cubicBezTo>
                  <a:pt x="282765" y="188531"/>
                  <a:pt x="283258" y="187083"/>
                  <a:pt x="283258" y="185594"/>
                </a:cubicBezTo>
                <a:lnTo>
                  <a:pt x="283258" y="107681"/>
                </a:lnTo>
                <a:cubicBezTo>
                  <a:pt x="283258" y="79254"/>
                  <a:pt x="270790" y="54130"/>
                  <a:pt x="248151" y="36936"/>
                </a:cubicBezTo>
                <a:lnTo>
                  <a:pt x="201327" y="1375"/>
                </a:lnTo>
                <a:cubicBezTo>
                  <a:pt x="199499" y="-14"/>
                  <a:pt x="197090" y="-378"/>
                  <a:pt x="194931" y="409"/>
                </a:cubicBezTo>
                <a:cubicBezTo>
                  <a:pt x="192773" y="1196"/>
                  <a:pt x="191164" y="3026"/>
                  <a:pt x="190659" y="5266"/>
                </a:cubicBezTo>
                <a:lnTo>
                  <a:pt x="186374" y="24285"/>
                </a:lnTo>
                <a:lnTo>
                  <a:pt x="175602" y="24285"/>
                </a:lnTo>
                <a:cubicBezTo>
                  <a:pt x="173563" y="24285"/>
                  <a:pt x="171633" y="25207"/>
                  <a:pt x="170351" y="26794"/>
                </a:cubicBezTo>
                <a:lnTo>
                  <a:pt x="121723" y="86990"/>
                </a:lnTo>
                <a:cubicBezTo>
                  <a:pt x="120524" y="88475"/>
                  <a:pt x="120009" y="90397"/>
                  <a:pt x="120306" y="92282"/>
                </a:cubicBezTo>
                <a:lnTo>
                  <a:pt x="122939" y="108996"/>
                </a:lnTo>
                <a:cubicBezTo>
                  <a:pt x="123239" y="110900"/>
                  <a:pt x="124339" y="112585"/>
                  <a:pt x="125962" y="113627"/>
                </a:cubicBezTo>
                <a:lnTo>
                  <a:pt x="143645" y="124971"/>
                </a:lnTo>
                <a:cubicBezTo>
                  <a:pt x="146342" y="126702"/>
                  <a:pt x="149887" y="126296"/>
                  <a:pt x="152124" y="124000"/>
                </a:cubicBezTo>
                <a:cubicBezTo>
                  <a:pt x="161866" y="114005"/>
                  <a:pt x="174149" y="109428"/>
                  <a:pt x="185711" y="111100"/>
                </a:cubicBezTo>
                <a:lnTo>
                  <a:pt x="137803" y="181807"/>
                </a:lnTo>
                <a:cubicBezTo>
                  <a:pt x="136211" y="184157"/>
                  <a:pt x="136275" y="187239"/>
                  <a:pt x="137925" y="189530"/>
                </a:cubicBezTo>
                <a:lnTo>
                  <a:pt x="92379" y="189530"/>
                </a:lnTo>
                <a:cubicBezTo>
                  <a:pt x="92036" y="187691"/>
                  <a:pt x="91326" y="185920"/>
                  <a:pt x="90254" y="184314"/>
                </a:cubicBezTo>
                <a:cubicBezTo>
                  <a:pt x="88175" y="181202"/>
                  <a:pt x="85017" y="179087"/>
                  <a:pt x="81360" y="178359"/>
                </a:cubicBezTo>
                <a:lnTo>
                  <a:pt x="81361" y="178359"/>
                </a:lnTo>
                <a:lnTo>
                  <a:pt x="44989" y="171113"/>
                </a:lnTo>
                <a:cubicBezTo>
                  <a:pt x="37425" y="169606"/>
                  <a:pt x="30044" y="174534"/>
                  <a:pt x="28537" y="182099"/>
                </a:cubicBezTo>
                <a:lnTo>
                  <a:pt x="272" y="323975"/>
                </a:lnTo>
                <a:cubicBezTo>
                  <a:pt x="-456" y="327632"/>
                  <a:pt x="288" y="331360"/>
                  <a:pt x="2365" y="334471"/>
                </a:cubicBezTo>
                <a:cubicBezTo>
                  <a:pt x="4442" y="337583"/>
                  <a:pt x="7601" y="339698"/>
                  <a:pt x="11259" y="340427"/>
                </a:cubicBezTo>
                <a:lnTo>
                  <a:pt x="47630" y="347673"/>
                </a:lnTo>
                <a:cubicBezTo>
                  <a:pt x="48548" y="347856"/>
                  <a:pt x="49464" y="347944"/>
                  <a:pt x="50367" y="347944"/>
                </a:cubicBezTo>
                <a:cubicBezTo>
                  <a:pt x="56898" y="347944"/>
                  <a:pt x="62757" y="343332"/>
                  <a:pt x="64082" y="336687"/>
                </a:cubicBezTo>
                <a:lnTo>
                  <a:pt x="64125" y="336470"/>
                </a:lnTo>
                <a:lnTo>
                  <a:pt x="149929" y="422274"/>
                </a:lnTo>
                <a:cubicBezTo>
                  <a:pt x="155113" y="427458"/>
                  <a:pt x="162027" y="430311"/>
                  <a:pt x="169396" y="430311"/>
                </a:cubicBezTo>
                <a:lnTo>
                  <a:pt x="169397" y="430311"/>
                </a:lnTo>
                <a:cubicBezTo>
                  <a:pt x="176766" y="430311"/>
                  <a:pt x="183681" y="427456"/>
                  <a:pt x="188863" y="422274"/>
                </a:cubicBezTo>
                <a:cubicBezTo>
                  <a:pt x="192407" y="418731"/>
                  <a:pt x="194861" y="414380"/>
                  <a:pt x="196061" y="409628"/>
                </a:cubicBezTo>
                <a:lnTo>
                  <a:pt x="207609" y="421175"/>
                </a:lnTo>
                <a:cubicBezTo>
                  <a:pt x="218344" y="431908"/>
                  <a:pt x="235809" y="431909"/>
                  <a:pt x="246544" y="421173"/>
                </a:cubicBezTo>
                <a:cubicBezTo>
                  <a:pt x="250170" y="417547"/>
                  <a:pt x="252571" y="413152"/>
                  <a:pt x="253748" y="408509"/>
                </a:cubicBezTo>
                <a:cubicBezTo>
                  <a:pt x="264526" y="418543"/>
                  <a:pt x="281464" y="418311"/>
                  <a:pt x="291964" y="407815"/>
                </a:cubicBezTo>
                <a:cubicBezTo>
                  <a:pt x="297823" y="401955"/>
                  <a:pt x="300485" y="394090"/>
                  <a:pt x="299947" y="386408"/>
                </a:cubicBezTo>
                <a:cubicBezTo>
                  <a:pt x="307634" y="386946"/>
                  <a:pt x="315494" y="384284"/>
                  <a:pt x="321353" y="378425"/>
                </a:cubicBezTo>
                <a:cubicBezTo>
                  <a:pt x="328565" y="371215"/>
                  <a:pt x="331059" y="360467"/>
                  <a:pt x="328165" y="350885"/>
                </a:cubicBezTo>
                <a:lnTo>
                  <a:pt x="344108" y="334942"/>
                </a:lnTo>
                <a:lnTo>
                  <a:pt x="344456" y="336686"/>
                </a:lnTo>
                <a:cubicBezTo>
                  <a:pt x="345780" y="343332"/>
                  <a:pt x="351637" y="347944"/>
                  <a:pt x="358171" y="347944"/>
                </a:cubicBezTo>
                <a:cubicBezTo>
                  <a:pt x="359074" y="347944"/>
                  <a:pt x="359990" y="347856"/>
                  <a:pt x="360908" y="347673"/>
                </a:cubicBezTo>
                <a:lnTo>
                  <a:pt x="397279" y="340427"/>
                </a:lnTo>
                <a:cubicBezTo>
                  <a:pt x="400935" y="339699"/>
                  <a:pt x="404094" y="337584"/>
                  <a:pt x="406173" y="334471"/>
                </a:cubicBezTo>
                <a:cubicBezTo>
                  <a:pt x="408252" y="331360"/>
                  <a:pt x="408995" y="327632"/>
                  <a:pt x="408266" y="323976"/>
                </a:cubicBezTo>
                <a:close/>
                <a:moveTo>
                  <a:pt x="151715" y="185342"/>
                </a:moveTo>
                <a:lnTo>
                  <a:pt x="202102" y="110977"/>
                </a:lnTo>
                <a:cubicBezTo>
                  <a:pt x="203231" y="109309"/>
                  <a:pt x="203558" y="107224"/>
                  <a:pt x="202991" y="105291"/>
                </a:cubicBezTo>
                <a:cubicBezTo>
                  <a:pt x="202424" y="103358"/>
                  <a:pt x="201023" y="101779"/>
                  <a:pt x="199172" y="100986"/>
                </a:cubicBezTo>
                <a:cubicBezTo>
                  <a:pt x="181799" y="93544"/>
                  <a:pt x="162054" y="97330"/>
                  <a:pt x="146503" y="110765"/>
                </a:cubicBezTo>
                <a:lnTo>
                  <a:pt x="135804" y="103901"/>
                </a:lnTo>
                <a:lnTo>
                  <a:pt x="134108" y="93142"/>
                </a:lnTo>
                <a:lnTo>
                  <a:pt x="178826" y="37786"/>
                </a:lnTo>
                <a:lnTo>
                  <a:pt x="191772" y="37786"/>
                </a:lnTo>
                <a:cubicBezTo>
                  <a:pt x="194927" y="37786"/>
                  <a:pt x="197662" y="35599"/>
                  <a:pt x="198356" y="32520"/>
                </a:cubicBezTo>
                <a:lnTo>
                  <a:pt x="201522" y="18475"/>
                </a:lnTo>
                <a:lnTo>
                  <a:pt x="239985" y="47687"/>
                </a:lnTo>
                <a:cubicBezTo>
                  <a:pt x="259463" y="62478"/>
                  <a:pt x="269758" y="83225"/>
                  <a:pt x="269758" y="107681"/>
                </a:cubicBezTo>
                <a:lnTo>
                  <a:pt x="269758" y="183297"/>
                </a:lnTo>
                <a:lnTo>
                  <a:pt x="261191" y="194426"/>
                </a:lnTo>
                <a:cubicBezTo>
                  <a:pt x="253197" y="190889"/>
                  <a:pt x="244764" y="185688"/>
                  <a:pt x="235857" y="178339"/>
                </a:cubicBezTo>
                <a:cubicBezTo>
                  <a:pt x="220707" y="165839"/>
                  <a:pt x="200957" y="165430"/>
                  <a:pt x="186713" y="177324"/>
                </a:cubicBezTo>
                <a:lnTo>
                  <a:pt x="172094" y="189530"/>
                </a:lnTo>
                <a:lnTo>
                  <a:pt x="154941" y="189530"/>
                </a:lnTo>
                <a:close/>
                <a:moveTo>
                  <a:pt x="50267" y="334433"/>
                </a:moveTo>
                <a:lnTo>
                  <a:pt x="13896" y="327188"/>
                </a:lnTo>
                <a:cubicBezTo>
                  <a:pt x="13773" y="327164"/>
                  <a:pt x="13670" y="327092"/>
                  <a:pt x="13593" y="326975"/>
                </a:cubicBezTo>
                <a:cubicBezTo>
                  <a:pt x="13515" y="326858"/>
                  <a:pt x="13488" y="326738"/>
                  <a:pt x="13512" y="326614"/>
                </a:cubicBezTo>
                <a:lnTo>
                  <a:pt x="41776" y="184737"/>
                </a:lnTo>
                <a:cubicBezTo>
                  <a:pt x="41821" y="184514"/>
                  <a:pt x="42042" y="184345"/>
                  <a:pt x="42267" y="184345"/>
                </a:cubicBezTo>
                <a:cubicBezTo>
                  <a:pt x="42295" y="184345"/>
                  <a:pt x="42323" y="184347"/>
                  <a:pt x="42352" y="184353"/>
                </a:cubicBezTo>
                <a:lnTo>
                  <a:pt x="78723" y="191599"/>
                </a:lnTo>
                <a:lnTo>
                  <a:pt x="78723" y="191599"/>
                </a:lnTo>
                <a:cubicBezTo>
                  <a:pt x="78847" y="191624"/>
                  <a:pt x="78950" y="191695"/>
                  <a:pt x="79027" y="191812"/>
                </a:cubicBezTo>
                <a:cubicBezTo>
                  <a:pt x="79105" y="191928"/>
                  <a:pt x="79132" y="192050"/>
                  <a:pt x="79107" y="192174"/>
                </a:cubicBezTo>
                <a:lnTo>
                  <a:pt x="50843" y="334049"/>
                </a:lnTo>
                <a:cubicBezTo>
                  <a:pt x="50793" y="334300"/>
                  <a:pt x="50523" y="334485"/>
                  <a:pt x="50267" y="334433"/>
                </a:cubicBezTo>
                <a:close/>
                <a:moveTo>
                  <a:pt x="311808" y="368879"/>
                </a:moveTo>
                <a:cubicBezTo>
                  <a:pt x="309173" y="371514"/>
                  <a:pt x="305649" y="372966"/>
                  <a:pt x="301885" y="372966"/>
                </a:cubicBezTo>
                <a:cubicBezTo>
                  <a:pt x="298124" y="372966"/>
                  <a:pt x="294603" y="371517"/>
                  <a:pt x="291969" y="368885"/>
                </a:cubicBezTo>
                <a:cubicBezTo>
                  <a:pt x="291967" y="368883"/>
                  <a:pt x="291966" y="368881"/>
                  <a:pt x="291964" y="368880"/>
                </a:cubicBezTo>
                <a:lnTo>
                  <a:pt x="230088" y="307002"/>
                </a:lnTo>
                <a:cubicBezTo>
                  <a:pt x="227450" y="304366"/>
                  <a:pt x="223178" y="304368"/>
                  <a:pt x="220542" y="307002"/>
                </a:cubicBezTo>
                <a:cubicBezTo>
                  <a:pt x="217906" y="309639"/>
                  <a:pt x="217906" y="313912"/>
                  <a:pt x="220542" y="316548"/>
                </a:cubicBezTo>
                <a:lnTo>
                  <a:pt x="282411" y="378418"/>
                </a:lnTo>
                <a:cubicBezTo>
                  <a:pt x="282414" y="378421"/>
                  <a:pt x="282416" y="378424"/>
                  <a:pt x="282419" y="378427"/>
                </a:cubicBezTo>
                <a:cubicBezTo>
                  <a:pt x="287890" y="383897"/>
                  <a:pt x="287890" y="392798"/>
                  <a:pt x="282420" y="398269"/>
                </a:cubicBezTo>
                <a:cubicBezTo>
                  <a:pt x="276947" y="403740"/>
                  <a:pt x="268046" y="403740"/>
                  <a:pt x="262576" y="398271"/>
                </a:cubicBezTo>
                <a:lnTo>
                  <a:pt x="197192" y="332887"/>
                </a:lnTo>
                <a:cubicBezTo>
                  <a:pt x="194557" y="330252"/>
                  <a:pt x="190283" y="330251"/>
                  <a:pt x="187646" y="332888"/>
                </a:cubicBezTo>
                <a:cubicBezTo>
                  <a:pt x="185011" y="335524"/>
                  <a:pt x="185011" y="339797"/>
                  <a:pt x="187647" y="342433"/>
                </a:cubicBezTo>
                <a:lnTo>
                  <a:pt x="236999" y="391784"/>
                </a:lnTo>
                <a:lnTo>
                  <a:pt x="236999" y="391785"/>
                </a:lnTo>
                <a:cubicBezTo>
                  <a:pt x="242469" y="397255"/>
                  <a:pt x="242469" y="406156"/>
                  <a:pt x="236999" y="411628"/>
                </a:cubicBezTo>
                <a:cubicBezTo>
                  <a:pt x="231529" y="417098"/>
                  <a:pt x="222627" y="417101"/>
                  <a:pt x="217156" y="411629"/>
                </a:cubicBezTo>
                <a:lnTo>
                  <a:pt x="164298" y="358771"/>
                </a:lnTo>
                <a:cubicBezTo>
                  <a:pt x="161662" y="356135"/>
                  <a:pt x="157389" y="356135"/>
                  <a:pt x="154753" y="358771"/>
                </a:cubicBezTo>
                <a:cubicBezTo>
                  <a:pt x="152116" y="361406"/>
                  <a:pt x="152116" y="365680"/>
                  <a:pt x="154752" y="368316"/>
                </a:cubicBezTo>
                <a:lnTo>
                  <a:pt x="179319" y="392884"/>
                </a:lnTo>
                <a:cubicBezTo>
                  <a:pt x="184790" y="398355"/>
                  <a:pt x="184790" y="407257"/>
                  <a:pt x="179319" y="412728"/>
                </a:cubicBezTo>
                <a:cubicBezTo>
                  <a:pt x="176685" y="415362"/>
                  <a:pt x="173162" y="416812"/>
                  <a:pt x="169398" y="416812"/>
                </a:cubicBezTo>
                <a:cubicBezTo>
                  <a:pt x="165633" y="416812"/>
                  <a:pt x="162110" y="415362"/>
                  <a:pt x="159476" y="412727"/>
                </a:cubicBezTo>
                <a:lnTo>
                  <a:pt x="67297" y="320550"/>
                </a:lnTo>
                <a:lnTo>
                  <a:pt x="90710" y="203031"/>
                </a:lnTo>
                <a:lnTo>
                  <a:pt x="155924" y="203031"/>
                </a:lnTo>
                <a:lnTo>
                  <a:pt x="137943" y="218043"/>
                </a:lnTo>
                <a:cubicBezTo>
                  <a:pt x="129731" y="224899"/>
                  <a:pt x="126205" y="234256"/>
                  <a:pt x="128269" y="243715"/>
                </a:cubicBezTo>
                <a:lnTo>
                  <a:pt x="143064" y="311507"/>
                </a:lnTo>
                <a:cubicBezTo>
                  <a:pt x="143453" y="313286"/>
                  <a:pt x="144543" y="314833"/>
                  <a:pt x="146089" y="315797"/>
                </a:cubicBezTo>
                <a:cubicBezTo>
                  <a:pt x="147636" y="316761"/>
                  <a:pt x="149506" y="317056"/>
                  <a:pt x="151274" y="316622"/>
                </a:cubicBezTo>
                <a:cubicBezTo>
                  <a:pt x="169146" y="312217"/>
                  <a:pt x="181101" y="303596"/>
                  <a:pt x="187821" y="290261"/>
                </a:cubicBezTo>
                <a:cubicBezTo>
                  <a:pt x="193618" y="278762"/>
                  <a:pt x="194819" y="265106"/>
                  <a:pt x="195982" y="251899"/>
                </a:cubicBezTo>
                <a:cubicBezTo>
                  <a:pt x="196135" y="250150"/>
                  <a:pt x="196290" y="248391"/>
                  <a:pt x="196456" y="246627"/>
                </a:cubicBezTo>
                <a:cubicBezTo>
                  <a:pt x="196461" y="246595"/>
                  <a:pt x="196465" y="246565"/>
                  <a:pt x="196470" y="246538"/>
                </a:cubicBezTo>
                <a:cubicBezTo>
                  <a:pt x="199019" y="245818"/>
                  <a:pt x="209527" y="248227"/>
                  <a:pt x="225620" y="262850"/>
                </a:cubicBezTo>
                <a:lnTo>
                  <a:pt x="314662" y="353190"/>
                </a:lnTo>
                <a:cubicBezTo>
                  <a:pt x="317013" y="358452"/>
                  <a:pt x="315901" y="364787"/>
                  <a:pt x="311808" y="368879"/>
                </a:cubicBezTo>
                <a:close/>
                <a:moveTo>
                  <a:pt x="320291" y="339669"/>
                </a:moveTo>
                <a:lnTo>
                  <a:pt x="235105" y="253241"/>
                </a:lnTo>
                <a:cubicBezTo>
                  <a:pt x="235020" y="253155"/>
                  <a:pt x="234934" y="253071"/>
                  <a:pt x="234843" y="252990"/>
                </a:cubicBezTo>
                <a:cubicBezTo>
                  <a:pt x="217689" y="237362"/>
                  <a:pt x="201497" y="230253"/>
                  <a:pt x="191522" y="233972"/>
                </a:cubicBezTo>
                <a:cubicBezTo>
                  <a:pt x="186758" y="235749"/>
                  <a:pt x="183667" y="239804"/>
                  <a:pt x="183041" y="245098"/>
                </a:cubicBezTo>
                <a:cubicBezTo>
                  <a:pt x="183035" y="245150"/>
                  <a:pt x="183029" y="245204"/>
                  <a:pt x="183024" y="245257"/>
                </a:cubicBezTo>
                <a:cubicBezTo>
                  <a:pt x="182851" y="247083"/>
                  <a:pt x="182691" y="248903"/>
                  <a:pt x="182532" y="250713"/>
                </a:cubicBezTo>
                <a:cubicBezTo>
                  <a:pt x="180400" y="274940"/>
                  <a:pt x="178816" y="292971"/>
                  <a:pt x="154705" y="301533"/>
                </a:cubicBezTo>
                <a:lnTo>
                  <a:pt x="141459" y="240835"/>
                </a:lnTo>
                <a:cubicBezTo>
                  <a:pt x="140150" y="234842"/>
                  <a:pt x="144114" y="230476"/>
                  <a:pt x="146594" y="228406"/>
                </a:cubicBezTo>
                <a:lnTo>
                  <a:pt x="195363" y="187687"/>
                </a:lnTo>
                <a:cubicBezTo>
                  <a:pt x="204463" y="180090"/>
                  <a:pt x="217283" y="180517"/>
                  <a:pt x="227265" y="188752"/>
                </a:cubicBezTo>
                <a:cubicBezTo>
                  <a:pt x="264261" y="219274"/>
                  <a:pt x="295266" y="217112"/>
                  <a:pt x="319136" y="209585"/>
                </a:cubicBezTo>
                <a:lnTo>
                  <a:pt x="340938" y="319023"/>
                </a:lnTo>
                <a:close/>
                <a:moveTo>
                  <a:pt x="394947" y="326975"/>
                </a:moveTo>
                <a:cubicBezTo>
                  <a:pt x="394868" y="327092"/>
                  <a:pt x="394766" y="327164"/>
                  <a:pt x="394644" y="327188"/>
                </a:cubicBezTo>
                <a:lnTo>
                  <a:pt x="358273" y="334433"/>
                </a:lnTo>
                <a:cubicBezTo>
                  <a:pt x="358019" y="334485"/>
                  <a:pt x="357746" y="334301"/>
                  <a:pt x="357697" y="334049"/>
                </a:cubicBezTo>
                <a:lnTo>
                  <a:pt x="329433" y="192174"/>
                </a:lnTo>
                <a:cubicBezTo>
                  <a:pt x="329408" y="192051"/>
                  <a:pt x="329435" y="191928"/>
                  <a:pt x="329513" y="191812"/>
                </a:cubicBezTo>
                <a:cubicBezTo>
                  <a:pt x="329591" y="191695"/>
                  <a:pt x="329693" y="191624"/>
                  <a:pt x="329817" y="191599"/>
                </a:cubicBezTo>
                <a:lnTo>
                  <a:pt x="329818" y="191599"/>
                </a:lnTo>
                <a:lnTo>
                  <a:pt x="366187" y="184353"/>
                </a:lnTo>
                <a:cubicBezTo>
                  <a:pt x="366214" y="184348"/>
                  <a:pt x="366243" y="184345"/>
                  <a:pt x="366272" y="184345"/>
                </a:cubicBezTo>
                <a:cubicBezTo>
                  <a:pt x="366497" y="184345"/>
                  <a:pt x="366718" y="184514"/>
                  <a:pt x="366763" y="184737"/>
                </a:cubicBezTo>
                <a:lnTo>
                  <a:pt x="395027" y="326614"/>
                </a:lnTo>
                <a:cubicBezTo>
                  <a:pt x="395051" y="326738"/>
                  <a:pt x="395024" y="326858"/>
                  <a:pt x="394947" y="326975"/>
                </a:cubicBezTo>
                <a:close/>
              </a:path>
            </a:pathLst>
          </a:custGeom>
          <a:solidFill>
            <a:schemeClr val="accent5"/>
          </a:solidFill>
          <a:ln w="837" cap="flat">
            <a:noFill/>
            <a:prstDash val="solid"/>
            <a:miter/>
          </a:ln>
        </p:spPr>
        <p:txBody>
          <a:bodyPr rtlCol="0" anchor="ctr"/>
          <a:lstStyle/>
          <a:p>
            <a:pPr defTabSz="685739"/>
            <a:endParaRPr lang="en-GB" sz="1350" dirty="0">
              <a:solidFill>
                <a:srgbClr val="000000"/>
              </a:solidFill>
            </a:endParaRPr>
          </a:p>
        </p:txBody>
      </p:sp>
      <p:sp>
        <p:nvSpPr>
          <p:cNvPr id="80" name="Graphic 60">
            <a:extLst>
              <a:ext uri="{FF2B5EF4-FFF2-40B4-BE49-F238E27FC236}">
                <a16:creationId xmlns:a16="http://schemas.microsoft.com/office/drawing/2014/main" id="{CD466EC6-1C4F-D6FE-F36A-0E013BBE90F3}"/>
              </a:ext>
            </a:extLst>
          </p:cNvPr>
          <p:cNvSpPr/>
          <p:nvPr/>
        </p:nvSpPr>
        <p:spPr>
          <a:xfrm>
            <a:off x="5224600" y="3189803"/>
            <a:ext cx="357497" cy="357497"/>
          </a:xfrm>
          <a:custGeom>
            <a:avLst/>
            <a:gdLst>
              <a:gd name="connsiteX0" fmla="*/ 412574 w 425248"/>
              <a:gd name="connsiteY0" fmla="*/ 170853 h 425249"/>
              <a:gd name="connsiteX1" fmla="*/ 387232 w 425248"/>
              <a:gd name="connsiteY1" fmla="*/ 165856 h 425249"/>
              <a:gd name="connsiteX2" fmla="*/ 369159 w 425248"/>
              <a:gd name="connsiteY2" fmla="*/ 122232 h 425249"/>
              <a:gd name="connsiteX3" fmla="*/ 383549 w 425248"/>
              <a:gd name="connsiteY3" fmla="*/ 100777 h 425249"/>
              <a:gd name="connsiteX4" fmla="*/ 381607 w 425248"/>
              <a:gd name="connsiteY4" fmla="*/ 80911 h 425249"/>
              <a:gd name="connsiteX5" fmla="*/ 344338 w 425248"/>
              <a:gd name="connsiteY5" fmla="*/ 43642 h 425249"/>
              <a:gd name="connsiteX6" fmla="*/ 324472 w 425248"/>
              <a:gd name="connsiteY6" fmla="*/ 41702 h 425249"/>
              <a:gd name="connsiteX7" fmla="*/ 303016 w 425248"/>
              <a:gd name="connsiteY7" fmla="*/ 56090 h 425249"/>
              <a:gd name="connsiteX8" fmla="*/ 259393 w 425248"/>
              <a:gd name="connsiteY8" fmla="*/ 38017 h 425249"/>
              <a:gd name="connsiteX9" fmla="*/ 254397 w 425248"/>
              <a:gd name="connsiteY9" fmla="*/ 12676 h 425249"/>
              <a:gd name="connsiteX10" fmla="*/ 238978 w 425248"/>
              <a:gd name="connsiteY10" fmla="*/ 0 h 425249"/>
              <a:gd name="connsiteX11" fmla="*/ 186270 w 425248"/>
              <a:gd name="connsiteY11" fmla="*/ 0 h 425249"/>
              <a:gd name="connsiteX12" fmla="*/ 170852 w 425248"/>
              <a:gd name="connsiteY12" fmla="*/ 12676 h 425249"/>
              <a:gd name="connsiteX13" fmla="*/ 165854 w 425248"/>
              <a:gd name="connsiteY13" fmla="*/ 38017 h 425249"/>
              <a:gd name="connsiteX14" fmla="*/ 122232 w 425248"/>
              <a:gd name="connsiteY14" fmla="*/ 56090 h 425249"/>
              <a:gd name="connsiteX15" fmla="*/ 100776 w 425248"/>
              <a:gd name="connsiteY15" fmla="*/ 41702 h 425249"/>
              <a:gd name="connsiteX16" fmla="*/ 80911 w 425248"/>
              <a:gd name="connsiteY16" fmla="*/ 43642 h 425249"/>
              <a:gd name="connsiteX17" fmla="*/ 43641 w 425248"/>
              <a:gd name="connsiteY17" fmla="*/ 80911 h 425249"/>
              <a:gd name="connsiteX18" fmla="*/ 41701 w 425248"/>
              <a:gd name="connsiteY18" fmla="*/ 100776 h 425249"/>
              <a:gd name="connsiteX19" fmla="*/ 56089 w 425248"/>
              <a:gd name="connsiteY19" fmla="*/ 122232 h 425249"/>
              <a:gd name="connsiteX20" fmla="*/ 38016 w 425248"/>
              <a:gd name="connsiteY20" fmla="*/ 165855 h 425249"/>
              <a:gd name="connsiteX21" fmla="*/ 12677 w 425248"/>
              <a:gd name="connsiteY21" fmla="*/ 170852 h 425249"/>
              <a:gd name="connsiteX22" fmla="*/ 0 w 425248"/>
              <a:gd name="connsiteY22" fmla="*/ 186270 h 425249"/>
              <a:gd name="connsiteX23" fmla="*/ 0 w 425248"/>
              <a:gd name="connsiteY23" fmla="*/ 238978 h 425249"/>
              <a:gd name="connsiteX24" fmla="*/ 12676 w 425248"/>
              <a:gd name="connsiteY24" fmla="*/ 254397 h 425249"/>
              <a:gd name="connsiteX25" fmla="*/ 38016 w 425248"/>
              <a:gd name="connsiteY25" fmla="*/ 259393 h 425249"/>
              <a:gd name="connsiteX26" fmla="*/ 56089 w 425248"/>
              <a:gd name="connsiteY26" fmla="*/ 303017 h 425249"/>
              <a:gd name="connsiteX27" fmla="*/ 41700 w 425248"/>
              <a:gd name="connsiteY27" fmla="*/ 324473 h 425249"/>
              <a:gd name="connsiteX28" fmla="*/ 43641 w 425248"/>
              <a:gd name="connsiteY28" fmla="*/ 344338 h 425249"/>
              <a:gd name="connsiteX29" fmla="*/ 80911 w 425248"/>
              <a:gd name="connsiteY29" fmla="*/ 381607 h 425249"/>
              <a:gd name="connsiteX30" fmla="*/ 100776 w 425248"/>
              <a:gd name="connsiteY30" fmla="*/ 383546 h 425249"/>
              <a:gd name="connsiteX31" fmla="*/ 122232 w 425248"/>
              <a:gd name="connsiteY31" fmla="*/ 369158 h 425249"/>
              <a:gd name="connsiteX32" fmla="*/ 165854 w 425248"/>
              <a:gd name="connsiteY32" fmla="*/ 387231 h 425249"/>
              <a:gd name="connsiteX33" fmla="*/ 170852 w 425248"/>
              <a:gd name="connsiteY33" fmla="*/ 412573 h 425249"/>
              <a:gd name="connsiteX34" fmla="*/ 186270 w 425248"/>
              <a:gd name="connsiteY34" fmla="*/ 425249 h 425249"/>
              <a:gd name="connsiteX35" fmla="*/ 238978 w 425248"/>
              <a:gd name="connsiteY35" fmla="*/ 425249 h 425249"/>
              <a:gd name="connsiteX36" fmla="*/ 254397 w 425248"/>
              <a:gd name="connsiteY36" fmla="*/ 412573 h 425249"/>
              <a:gd name="connsiteX37" fmla="*/ 259393 w 425248"/>
              <a:gd name="connsiteY37" fmla="*/ 387231 h 425249"/>
              <a:gd name="connsiteX38" fmla="*/ 303016 w 425248"/>
              <a:gd name="connsiteY38" fmla="*/ 369158 h 425249"/>
              <a:gd name="connsiteX39" fmla="*/ 324471 w 425248"/>
              <a:gd name="connsiteY39" fmla="*/ 383546 h 425249"/>
              <a:gd name="connsiteX40" fmla="*/ 344338 w 425248"/>
              <a:gd name="connsiteY40" fmla="*/ 381607 h 425249"/>
              <a:gd name="connsiteX41" fmla="*/ 381607 w 425248"/>
              <a:gd name="connsiteY41" fmla="*/ 344338 h 425249"/>
              <a:gd name="connsiteX42" fmla="*/ 383548 w 425248"/>
              <a:gd name="connsiteY42" fmla="*/ 324472 h 425249"/>
              <a:gd name="connsiteX43" fmla="*/ 369159 w 425248"/>
              <a:gd name="connsiteY43" fmla="*/ 303017 h 425249"/>
              <a:gd name="connsiteX44" fmla="*/ 387232 w 425248"/>
              <a:gd name="connsiteY44" fmla="*/ 259393 h 425249"/>
              <a:gd name="connsiteX45" fmla="*/ 412573 w 425248"/>
              <a:gd name="connsiteY45" fmla="*/ 254397 h 425249"/>
              <a:gd name="connsiteX46" fmla="*/ 425248 w 425248"/>
              <a:gd name="connsiteY46" fmla="*/ 238978 h 425249"/>
              <a:gd name="connsiteX47" fmla="*/ 425248 w 425248"/>
              <a:gd name="connsiteY47" fmla="*/ 186270 h 425249"/>
              <a:gd name="connsiteX48" fmla="*/ 412574 w 425248"/>
              <a:gd name="connsiteY48" fmla="*/ 170852 h 425249"/>
              <a:gd name="connsiteX49" fmla="*/ 413436 w 425248"/>
              <a:gd name="connsiteY49" fmla="*/ 238979 h 425249"/>
              <a:gd name="connsiteX50" fmla="*/ 410289 w 425248"/>
              <a:gd name="connsiteY50" fmla="*/ 242809 h 425249"/>
              <a:gd name="connsiteX51" fmla="*/ 381844 w 425248"/>
              <a:gd name="connsiteY51" fmla="*/ 248417 h 425249"/>
              <a:gd name="connsiteX52" fmla="*/ 377530 w 425248"/>
              <a:gd name="connsiteY52" fmla="*/ 251951 h 425249"/>
              <a:gd name="connsiteX53" fmla="*/ 357035 w 425248"/>
              <a:gd name="connsiteY53" fmla="*/ 301419 h 425249"/>
              <a:gd name="connsiteX54" fmla="*/ 357586 w 425248"/>
              <a:gd name="connsiteY54" fmla="*/ 306969 h 425249"/>
              <a:gd name="connsiteX55" fmla="*/ 373737 w 425248"/>
              <a:gd name="connsiteY55" fmla="*/ 331051 h 425249"/>
              <a:gd name="connsiteX56" fmla="*/ 373256 w 425248"/>
              <a:gd name="connsiteY56" fmla="*/ 335985 h 425249"/>
              <a:gd name="connsiteX57" fmla="*/ 335986 w 425248"/>
              <a:gd name="connsiteY57" fmla="*/ 373255 h 425249"/>
              <a:gd name="connsiteX58" fmla="*/ 331050 w 425248"/>
              <a:gd name="connsiteY58" fmla="*/ 373736 h 425249"/>
              <a:gd name="connsiteX59" fmla="*/ 306967 w 425248"/>
              <a:gd name="connsiteY59" fmla="*/ 357585 h 425249"/>
              <a:gd name="connsiteX60" fmla="*/ 301417 w 425248"/>
              <a:gd name="connsiteY60" fmla="*/ 357035 h 425249"/>
              <a:gd name="connsiteX61" fmla="*/ 251950 w 425248"/>
              <a:gd name="connsiteY61" fmla="*/ 377529 h 425249"/>
              <a:gd name="connsiteX62" fmla="*/ 248416 w 425248"/>
              <a:gd name="connsiteY62" fmla="*/ 381843 h 425249"/>
              <a:gd name="connsiteX63" fmla="*/ 242808 w 425248"/>
              <a:gd name="connsiteY63" fmla="*/ 410288 h 425249"/>
              <a:gd name="connsiteX64" fmla="*/ 238979 w 425248"/>
              <a:gd name="connsiteY64" fmla="*/ 413436 h 425249"/>
              <a:gd name="connsiteX65" fmla="*/ 186270 w 425248"/>
              <a:gd name="connsiteY65" fmla="*/ 413436 h 425249"/>
              <a:gd name="connsiteX66" fmla="*/ 182441 w 425248"/>
              <a:gd name="connsiteY66" fmla="*/ 410287 h 425249"/>
              <a:gd name="connsiteX67" fmla="*/ 176832 w 425248"/>
              <a:gd name="connsiteY67" fmla="*/ 381842 h 425249"/>
              <a:gd name="connsiteX68" fmla="*/ 173299 w 425248"/>
              <a:gd name="connsiteY68" fmla="*/ 377528 h 425249"/>
              <a:gd name="connsiteX69" fmla="*/ 123831 w 425248"/>
              <a:gd name="connsiteY69" fmla="*/ 357034 h 425249"/>
              <a:gd name="connsiteX70" fmla="*/ 121572 w 425248"/>
              <a:gd name="connsiteY70" fmla="*/ 356584 h 425249"/>
              <a:gd name="connsiteX71" fmla="*/ 118282 w 425248"/>
              <a:gd name="connsiteY71" fmla="*/ 357585 h 425249"/>
              <a:gd name="connsiteX72" fmla="*/ 94198 w 425248"/>
              <a:gd name="connsiteY72" fmla="*/ 373736 h 425249"/>
              <a:gd name="connsiteX73" fmla="*/ 89264 w 425248"/>
              <a:gd name="connsiteY73" fmla="*/ 373255 h 425249"/>
              <a:gd name="connsiteX74" fmla="*/ 51994 w 425248"/>
              <a:gd name="connsiteY74" fmla="*/ 335985 h 425249"/>
              <a:gd name="connsiteX75" fmla="*/ 51513 w 425248"/>
              <a:gd name="connsiteY75" fmla="*/ 331050 h 425249"/>
              <a:gd name="connsiteX76" fmla="*/ 67663 w 425248"/>
              <a:gd name="connsiteY76" fmla="*/ 306968 h 425249"/>
              <a:gd name="connsiteX77" fmla="*/ 68214 w 425248"/>
              <a:gd name="connsiteY77" fmla="*/ 301418 h 425249"/>
              <a:gd name="connsiteX78" fmla="*/ 47720 w 425248"/>
              <a:gd name="connsiteY78" fmla="*/ 251950 h 425249"/>
              <a:gd name="connsiteX79" fmla="*/ 43406 w 425248"/>
              <a:gd name="connsiteY79" fmla="*/ 248416 h 425249"/>
              <a:gd name="connsiteX80" fmla="*/ 14961 w 425248"/>
              <a:gd name="connsiteY80" fmla="*/ 242808 h 425249"/>
              <a:gd name="connsiteX81" fmla="*/ 11814 w 425248"/>
              <a:gd name="connsiteY81" fmla="*/ 238978 h 425249"/>
              <a:gd name="connsiteX82" fmla="*/ 11814 w 425248"/>
              <a:gd name="connsiteY82" fmla="*/ 186270 h 425249"/>
              <a:gd name="connsiteX83" fmla="*/ 14963 w 425248"/>
              <a:gd name="connsiteY83" fmla="*/ 182441 h 425249"/>
              <a:gd name="connsiteX84" fmla="*/ 43407 w 425248"/>
              <a:gd name="connsiteY84" fmla="*/ 176832 h 425249"/>
              <a:gd name="connsiteX85" fmla="*/ 47720 w 425248"/>
              <a:gd name="connsiteY85" fmla="*/ 173299 h 425249"/>
              <a:gd name="connsiteX86" fmla="*/ 68214 w 425248"/>
              <a:gd name="connsiteY86" fmla="*/ 123830 h 425249"/>
              <a:gd name="connsiteX87" fmla="*/ 67663 w 425248"/>
              <a:gd name="connsiteY87" fmla="*/ 118280 h 425249"/>
              <a:gd name="connsiteX88" fmla="*/ 51513 w 425248"/>
              <a:gd name="connsiteY88" fmla="*/ 94197 h 425249"/>
              <a:gd name="connsiteX89" fmla="*/ 51994 w 425248"/>
              <a:gd name="connsiteY89" fmla="*/ 89263 h 425249"/>
              <a:gd name="connsiteX90" fmla="*/ 89264 w 425248"/>
              <a:gd name="connsiteY90" fmla="*/ 51994 h 425249"/>
              <a:gd name="connsiteX91" fmla="*/ 94199 w 425248"/>
              <a:gd name="connsiteY91" fmla="*/ 51512 h 425249"/>
              <a:gd name="connsiteX92" fmla="*/ 118281 w 425248"/>
              <a:gd name="connsiteY92" fmla="*/ 67662 h 425249"/>
              <a:gd name="connsiteX93" fmla="*/ 123830 w 425248"/>
              <a:gd name="connsiteY93" fmla="*/ 68213 h 425249"/>
              <a:gd name="connsiteX94" fmla="*/ 173299 w 425248"/>
              <a:gd name="connsiteY94" fmla="*/ 47718 h 425249"/>
              <a:gd name="connsiteX95" fmla="*/ 176832 w 425248"/>
              <a:gd name="connsiteY95" fmla="*/ 43404 h 425249"/>
              <a:gd name="connsiteX96" fmla="*/ 182442 w 425248"/>
              <a:gd name="connsiteY96" fmla="*/ 14960 h 425249"/>
              <a:gd name="connsiteX97" fmla="*/ 186270 w 425248"/>
              <a:gd name="connsiteY97" fmla="*/ 11812 h 425249"/>
              <a:gd name="connsiteX98" fmla="*/ 238979 w 425248"/>
              <a:gd name="connsiteY98" fmla="*/ 11812 h 425249"/>
              <a:gd name="connsiteX99" fmla="*/ 242808 w 425248"/>
              <a:gd name="connsiteY99" fmla="*/ 14960 h 425249"/>
              <a:gd name="connsiteX100" fmla="*/ 248416 w 425248"/>
              <a:gd name="connsiteY100" fmla="*/ 43404 h 425249"/>
              <a:gd name="connsiteX101" fmla="*/ 251951 w 425248"/>
              <a:gd name="connsiteY101" fmla="*/ 47718 h 425249"/>
              <a:gd name="connsiteX102" fmla="*/ 301419 w 425248"/>
              <a:gd name="connsiteY102" fmla="*/ 68213 h 425249"/>
              <a:gd name="connsiteX103" fmla="*/ 306968 w 425248"/>
              <a:gd name="connsiteY103" fmla="*/ 67662 h 425249"/>
              <a:gd name="connsiteX104" fmla="*/ 331050 w 425248"/>
              <a:gd name="connsiteY104" fmla="*/ 51513 h 425249"/>
              <a:gd name="connsiteX105" fmla="*/ 335986 w 425248"/>
              <a:gd name="connsiteY105" fmla="*/ 51994 h 425249"/>
              <a:gd name="connsiteX106" fmla="*/ 373256 w 425248"/>
              <a:gd name="connsiteY106" fmla="*/ 89263 h 425249"/>
              <a:gd name="connsiteX107" fmla="*/ 373737 w 425248"/>
              <a:gd name="connsiteY107" fmla="*/ 94198 h 425249"/>
              <a:gd name="connsiteX108" fmla="*/ 357586 w 425248"/>
              <a:gd name="connsiteY108" fmla="*/ 118280 h 425249"/>
              <a:gd name="connsiteX109" fmla="*/ 357035 w 425248"/>
              <a:gd name="connsiteY109" fmla="*/ 123830 h 425249"/>
              <a:gd name="connsiteX110" fmla="*/ 377530 w 425248"/>
              <a:gd name="connsiteY110" fmla="*/ 173299 h 425249"/>
              <a:gd name="connsiteX111" fmla="*/ 381843 w 425248"/>
              <a:gd name="connsiteY111" fmla="*/ 176832 h 425249"/>
              <a:gd name="connsiteX112" fmla="*/ 410288 w 425248"/>
              <a:gd name="connsiteY112" fmla="*/ 182441 h 425249"/>
              <a:gd name="connsiteX113" fmla="*/ 413436 w 425248"/>
              <a:gd name="connsiteY113" fmla="*/ 186270 h 425249"/>
              <a:gd name="connsiteX114" fmla="*/ 413436 w 425248"/>
              <a:gd name="connsiteY114" fmla="*/ 238978 h 425249"/>
              <a:gd name="connsiteX115" fmla="*/ 212624 w 425248"/>
              <a:gd name="connsiteY115" fmla="*/ 68646 h 425249"/>
              <a:gd name="connsiteX116" fmla="*/ 68644 w 425248"/>
              <a:gd name="connsiteY116" fmla="*/ 212626 h 425249"/>
              <a:gd name="connsiteX117" fmla="*/ 212624 w 425248"/>
              <a:gd name="connsiteY117" fmla="*/ 356606 h 425249"/>
              <a:gd name="connsiteX118" fmla="*/ 356604 w 425248"/>
              <a:gd name="connsiteY118" fmla="*/ 212626 h 425249"/>
              <a:gd name="connsiteX119" fmla="*/ 212624 w 425248"/>
              <a:gd name="connsiteY119" fmla="*/ 68646 h 425249"/>
              <a:gd name="connsiteX120" fmla="*/ 212624 w 425248"/>
              <a:gd name="connsiteY120" fmla="*/ 344793 h 425249"/>
              <a:gd name="connsiteX121" fmla="*/ 80457 w 425248"/>
              <a:gd name="connsiteY121" fmla="*/ 212625 h 425249"/>
              <a:gd name="connsiteX122" fmla="*/ 212624 w 425248"/>
              <a:gd name="connsiteY122" fmla="*/ 80457 h 425249"/>
              <a:gd name="connsiteX123" fmla="*/ 344792 w 425248"/>
              <a:gd name="connsiteY123" fmla="*/ 212625 h 425249"/>
              <a:gd name="connsiteX124" fmla="*/ 212624 w 425248"/>
              <a:gd name="connsiteY124" fmla="*/ 344793 h 425249"/>
              <a:gd name="connsiteX125" fmla="*/ 262757 w 425248"/>
              <a:gd name="connsiteY125" fmla="*/ 108876 h 425249"/>
              <a:gd name="connsiteX126" fmla="*/ 162490 w 425248"/>
              <a:gd name="connsiteY126" fmla="*/ 108876 h 425249"/>
              <a:gd name="connsiteX127" fmla="*/ 144863 w 425248"/>
              <a:gd name="connsiteY127" fmla="*/ 119053 h 425249"/>
              <a:gd name="connsiteX128" fmla="*/ 114985 w 425248"/>
              <a:gd name="connsiteY128" fmla="*/ 170800 h 425249"/>
              <a:gd name="connsiteX129" fmla="*/ 114194 w 425248"/>
              <a:gd name="connsiteY129" fmla="*/ 173753 h 425249"/>
              <a:gd name="connsiteX130" fmla="*/ 114194 w 425248"/>
              <a:gd name="connsiteY130" fmla="*/ 184117 h 425249"/>
              <a:gd name="connsiteX131" fmla="*/ 125666 w 425248"/>
              <a:gd name="connsiteY131" fmla="*/ 207083 h 425249"/>
              <a:gd name="connsiteX132" fmla="*/ 125666 w 425248"/>
              <a:gd name="connsiteY132" fmla="*/ 286875 h 425249"/>
              <a:gd name="connsiteX133" fmla="*/ 142979 w 425248"/>
              <a:gd name="connsiteY133" fmla="*/ 304188 h 425249"/>
              <a:gd name="connsiteX134" fmla="*/ 282270 w 425248"/>
              <a:gd name="connsiteY134" fmla="*/ 304188 h 425249"/>
              <a:gd name="connsiteX135" fmla="*/ 299583 w 425248"/>
              <a:gd name="connsiteY135" fmla="*/ 286875 h 425249"/>
              <a:gd name="connsiteX136" fmla="*/ 299583 w 425248"/>
              <a:gd name="connsiteY136" fmla="*/ 207083 h 425249"/>
              <a:gd name="connsiteX137" fmla="*/ 311055 w 425248"/>
              <a:gd name="connsiteY137" fmla="*/ 184117 h 425249"/>
              <a:gd name="connsiteX138" fmla="*/ 311055 w 425248"/>
              <a:gd name="connsiteY138" fmla="*/ 173753 h 425249"/>
              <a:gd name="connsiteX139" fmla="*/ 310264 w 425248"/>
              <a:gd name="connsiteY139" fmla="*/ 170800 h 425249"/>
              <a:gd name="connsiteX140" fmla="*/ 280387 w 425248"/>
              <a:gd name="connsiteY140" fmla="*/ 119052 h 425249"/>
              <a:gd name="connsiteX141" fmla="*/ 262758 w 425248"/>
              <a:gd name="connsiteY141" fmla="*/ 108875 h 425249"/>
              <a:gd name="connsiteX142" fmla="*/ 270156 w 425248"/>
              <a:gd name="connsiteY142" fmla="*/ 124959 h 425249"/>
              <a:gd name="connsiteX143" fmla="*/ 294918 w 425248"/>
              <a:gd name="connsiteY143" fmla="*/ 167847 h 425249"/>
              <a:gd name="connsiteX144" fmla="*/ 263037 w 425248"/>
              <a:gd name="connsiteY144" fmla="*/ 167847 h 425249"/>
              <a:gd name="connsiteX145" fmla="*/ 246066 w 425248"/>
              <a:gd name="connsiteY145" fmla="*/ 120688 h 425249"/>
              <a:gd name="connsiteX146" fmla="*/ 262756 w 425248"/>
              <a:gd name="connsiteY146" fmla="*/ 120688 h 425249"/>
              <a:gd name="connsiteX147" fmla="*/ 270155 w 425248"/>
              <a:gd name="connsiteY147" fmla="*/ 124959 h 425249"/>
              <a:gd name="connsiteX148" fmla="*/ 285668 w 425248"/>
              <a:gd name="connsiteY148" fmla="*/ 200558 h 425249"/>
              <a:gd name="connsiteX149" fmla="*/ 282017 w 425248"/>
              <a:gd name="connsiteY149" fmla="*/ 200906 h 425249"/>
              <a:gd name="connsiteX150" fmla="*/ 264792 w 425248"/>
              <a:gd name="connsiteY150" fmla="*/ 190255 h 425249"/>
              <a:gd name="connsiteX151" fmla="*/ 264792 w 425248"/>
              <a:gd name="connsiteY151" fmla="*/ 179660 h 425249"/>
              <a:gd name="connsiteX152" fmla="*/ 299242 w 425248"/>
              <a:gd name="connsiteY152" fmla="*/ 179660 h 425249"/>
              <a:gd name="connsiteX153" fmla="*/ 299242 w 425248"/>
              <a:gd name="connsiteY153" fmla="*/ 184117 h 425249"/>
              <a:gd name="connsiteX154" fmla="*/ 285668 w 425248"/>
              <a:gd name="connsiteY154" fmla="*/ 200558 h 425249"/>
              <a:gd name="connsiteX155" fmla="*/ 126006 w 425248"/>
              <a:gd name="connsiteY155" fmla="*/ 184117 h 425249"/>
              <a:gd name="connsiteX156" fmla="*/ 126006 w 425248"/>
              <a:gd name="connsiteY156" fmla="*/ 179660 h 425249"/>
              <a:gd name="connsiteX157" fmla="*/ 160456 w 425248"/>
              <a:gd name="connsiteY157" fmla="*/ 179660 h 425249"/>
              <a:gd name="connsiteX158" fmla="*/ 160456 w 425248"/>
              <a:gd name="connsiteY158" fmla="*/ 190255 h 425249"/>
              <a:gd name="connsiteX159" fmla="*/ 143232 w 425248"/>
              <a:gd name="connsiteY159" fmla="*/ 200906 h 425249"/>
              <a:gd name="connsiteX160" fmla="*/ 139581 w 425248"/>
              <a:gd name="connsiteY160" fmla="*/ 200558 h 425249"/>
              <a:gd name="connsiteX161" fmla="*/ 126006 w 425248"/>
              <a:gd name="connsiteY161" fmla="*/ 184117 h 425249"/>
              <a:gd name="connsiteX162" fmla="*/ 172268 w 425248"/>
              <a:gd name="connsiteY162" fmla="*/ 179660 h 425249"/>
              <a:gd name="connsiteX163" fmla="*/ 206717 w 425248"/>
              <a:gd name="connsiteY163" fmla="*/ 179660 h 425249"/>
              <a:gd name="connsiteX164" fmla="*/ 206717 w 425248"/>
              <a:gd name="connsiteY164" fmla="*/ 190255 h 425249"/>
              <a:gd name="connsiteX165" fmla="*/ 189493 w 425248"/>
              <a:gd name="connsiteY165" fmla="*/ 200905 h 425249"/>
              <a:gd name="connsiteX166" fmla="*/ 172268 w 425248"/>
              <a:gd name="connsiteY166" fmla="*/ 190254 h 425249"/>
              <a:gd name="connsiteX167" fmla="*/ 172268 w 425248"/>
              <a:gd name="connsiteY167" fmla="*/ 179659 h 425249"/>
              <a:gd name="connsiteX168" fmla="*/ 206717 w 425248"/>
              <a:gd name="connsiteY168" fmla="*/ 167847 h 425249"/>
              <a:gd name="connsiteX169" fmla="*/ 174764 w 425248"/>
              <a:gd name="connsiteY169" fmla="*/ 167847 h 425249"/>
              <a:gd name="connsiteX170" fmla="*/ 191733 w 425248"/>
              <a:gd name="connsiteY170" fmla="*/ 120688 h 425249"/>
              <a:gd name="connsiteX171" fmla="*/ 206717 w 425248"/>
              <a:gd name="connsiteY171" fmla="*/ 120688 h 425249"/>
              <a:gd name="connsiteX172" fmla="*/ 218530 w 425248"/>
              <a:gd name="connsiteY172" fmla="*/ 120688 h 425249"/>
              <a:gd name="connsiteX173" fmla="*/ 233514 w 425248"/>
              <a:gd name="connsiteY173" fmla="*/ 120688 h 425249"/>
              <a:gd name="connsiteX174" fmla="*/ 250483 w 425248"/>
              <a:gd name="connsiteY174" fmla="*/ 167847 h 425249"/>
              <a:gd name="connsiteX175" fmla="*/ 218530 w 425248"/>
              <a:gd name="connsiteY175" fmla="*/ 167847 h 425249"/>
              <a:gd name="connsiteX176" fmla="*/ 218530 w 425248"/>
              <a:gd name="connsiteY176" fmla="*/ 179660 h 425249"/>
              <a:gd name="connsiteX177" fmla="*/ 252979 w 425248"/>
              <a:gd name="connsiteY177" fmla="*/ 179660 h 425249"/>
              <a:gd name="connsiteX178" fmla="*/ 252979 w 425248"/>
              <a:gd name="connsiteY178" fmla="*/ 190255 h 425249"/>
              <a:gd name="connsiteX179" fmla="*/ 235755 w 425248"/>
              <a:gd name="connsiteY179" fmla="*/ 200906 h 425249"/>
              <a:gd name="connsiteX180" fmla="*/ 218530 w 425248"/>
              <a:gd name="connsiteY180" fmla="*/ 190255 h 425249"/>
              <a:gd name="connsiteX181" fmla="*/ 155092 w 425248"/>
              <a:gd name="connsiteY181" fmla="*/ 124959 h 425249"/>
              <a:gd name="connsiteX182" fmla="*/ 162490 w 425248"/>
              <a:gd name="connsiteY182" fmla="*/ 120687 h 425249"/>
              <a:gd name="connsiteX183" fmla="*/ 179180 w 425248"/>
              <a:gd name="connsiteY183" fmla="*/ 120687 h 425249"/>
              <a:gd name="connsiteX184" fmla="*/ 162210 w 425248"/>
              <a:gd name="connsiteY184" fmla="*/ 167846 h 425249"/>
              <a:gd name="connsiteX185" fmla="*/ 130331 w 425248"/>
              <a:gd name="connsiteY185" fmla="*/ 167846 h 425249"/>
              <a:gd name="connsiteX186" fmla="*/ 155093 w 425248"/>
              <a:gd name="connsiteY186" fmla="*/ 124958 h 425249"/>
              <a:gd name="connsiteX187" fmla="*/ 202184 w 425248"/>
              <a:gd name="connsiteY187" fmla="*/ 292375 h 425249"/>
              <a:gd name="connsiteX188" fmla="*/ 168972 w 425248"/>
              <a:gd name="connsiteY188" fmla="*/ 292375 h 425249"/>
              <a:gd name="connsiteX189" fmla="*/ 168972 w 425248"/>
              <a:gd name="connsiteY189" fmla="*/ 241923 h 425249"/>
              <a:gd name="connsiteX190" fmla="*/ 202184 w 425248"/>
              <a:gd name="connsiteY190" fmla="*/ 241923 h 425249"/>
              <a:gd name="connsiteX191" fmla="*/ 282269 w 425248"/>
              <a:gd name="connsiteY191" fmla="*/ 292375 h 425249"/>
              <a:gd name="connsiteX192" fmla="*/ 213996 w 425248"/>
              <a:gd name="connsiteY192" fmla="*/ 292375 h 425249"/>
              <a:gd name="connsiteX193" fmla="*/ 213996 w 425248"/>
              <a:gd name="connsiteY193" fmla="*/ 236017 h 425249"/>
              <a:gd name="connsiteX194" fmla="*/ 208090 w 425248"/>
              <a:gd name="connsiteY194" fmla="*/ 230111 h 425249"/>
              <a:gd name="connsiteX195" fmla="*/ 163066 w 425248"/>
              <a:gd name="connsiteY195" fmla="*/ 230111 h 425249"/>
              <a:gd name="connsiteX196" fmla="*/ 157159 w 425248"/>
              <a:gd name="connsiteY196" fmla="*/ 236017 h 425249"/>
              <a:gd name="connsiteX197" fmla="*/ 157159 w 425248"/>
              <a:gd name="connsiteY197" fmla="*/ 292375 h 425249"/>
              <a:gd name="connsiteX198" fmla="*/ 142979 w 425248"/>
              <a:gd name="connsiteY198" fmla="*/ 292375 h 425249"/>
              <a:gd name="connsiteX199" fmla="*/ 137478 w 425248"/>
              <a:gd name="connsiteY199" fmla="*/ 286874 h 425249"/>
              <a:gd name="connsiteX200" fmla="*/ 137478 w 425248"/>
              <a:gd name="connsiteY200" fmla="*/ 212178 h 425249"/>
              <a:gd name="connsiteX201" fmla="*/ 143231 w 425248"/>
              <a:gd name="connsiteY201" fmla="*/ 212717 h 425249"/>
              <a:gd name="connsiteX202" fmla="*/ 166361 w 425248"/>
              <a:gd name="connsiteY202" fmla="*/ 202404 h 425249"/>
              <a:gd name="connsiteX203" fmla="*/ 189492 w 425248"/>
              <a:gd name="connsiteY203" fmla="*/ 212717 h 425249"/>
              <a:gd name="connsiteX204" fmla="*/ 212622 w 425248"/>
              <a:gd name="connsiteY204" fmla="*/ 202404 h 425249"/>
              <a:gd name="connsiteX205" fmla="*/ 235754 w 425248"/>
              <a:gd name="connsiteY205" fmla="*/ 212717 h 425249"/>
              <a:gd name="connsiteX206" fmla="*/ 258884 w 425248"/>
              <a:gd name="connsiteY206" fmla="*/ 202404 h 425249"/>
              <a:gd name="connsiteX207" fmla="*/ 282015 w 425248"/>
              <a:gd name="connsiteY207" fmla="*/ 212717 h 425249"/>
              <a:gd name="connsiteX208" fmla="*/ 287768 w 425248"/>
              <a:gd name="connsiteY208" fmla="*/ 212178 h 425249"/>
              <a:gd name="connsiteX209" fmla="*/ 287768 w 425248"/>
              <a:gd name="connsiteY209" fmla="*/ 286874 h 425249"/>
              <a:gd name="connsiteX210" fmla="*/ 282267 w 425248"/>
              <a:gd name="connsiteY210" fmla="*/ 292375 h 425249"/>
              <a:gd name="connsiteX211" fmla="*/ 233152 w 425248"/>
              <a:gd name="connsiteY211" fmla="*/ 230112 h 425249"/>
              <a:gd name="connsiteX212" fmla="*/ 268613 w 425248"/>
              <a:gd name="connsiteY212" fmla="*/ 230112 h 425249"/>
              <a:gd name="connsiteX213" fmla="*/ 268613 w 425248"/>
              <a:gd name="connsiteY213" fmla="*/ 241924 h 425249"/>
              <a:gd name="connsiteX214" fmla="*/ 233152 w 425248"/>
              <a:gd name="connsiteY214" fmla="*/ 241924 h 425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</a:cxnLst>
            <a:rect l="l" t="t" r="r" b="b"/>
            <a:pathLst>
              <a:path w="425248" h="425249">
                <a:moveTo>
                  <a:pt x="412574" y="170853"/>
                </a:moveTo>
                <a:lnTo>
                  <a:pt x="387232" y="165856"/>
                </a:lnTo>
                <a:lnTo>
                  <a:pt x="369159" y="122232"/>
                </a:lnTo>
                <a:lnTo>
                  <a:pt x="383549" y="100777"/>
                </a:lnTo>
                <a:cubicBezTo>
                  <a:pt x="387785" y="94459"/>
                  <a:pt x="386986" y="86289"/>
                  <a:pt x="381607" y="80911"/>
                </a:cubicBezTo>
                <a:lnTo>
                  <a:pt x="344338" y="43642"/>
                </a:lnTo>
                <a:cubicBezTo>
                  <a:pt x="338961" y="38263"/>
                  <a:pt x="330791" y="37465"/>
                  <a:pt x="324472" y="41702"/>
                </a:cubicBezTo>
                <a:lnTo>
                  <a:pt x="303016" y="56090"/>
                </a:lnTo>
                <a:lnTo>
                  <a:pt x="259393" y="38017"/>
                </a:lnTo>
                <a:lnTo>
                  <a:pt x="254397" y="12676"/>
                </a:lnTo>
                <a:cubicBezTo>
                  <a:pt x="252926" y="5212"/>
                  <a:pt x="246585" y="0"/>
                  <a:pt x="238978" y="0"/>
                </a:cubicBezTo>
                <a:lnTo>
                  <a:pt x="186270" y="0"/>
                </a:lnTo>
                <a:cubicBezTo>
                  <a:pt x="178662" y="0"/>
                  <a:pt x="172322" y="5213"/>
                  <a:pt x="170852" y="12676"/>
                </a:cubicBezTo>
                <a:lnTo>
                  <a:pt x="165854" y="38017"/>
                </a:lnTo>
                <a:lnTo>
                  <a:pt x="122232" y="56090"/>
                </a:lnTo>
                <a:lnTo>
                  <a:pt x="100776" y="41702"/>
                </a:lnTo>
                <a:cubicBezTo>
                  <a:pt x="94458" y="37465"/>
                  <a:pt x="86288" y="38264"/>
                  <a:pt x="80911" y="43642"/>
                </a:cubicBezTo>
                <a:lnTo>
                  <a:pt x="43641" y="80911"/>
                </a:lnTo>
                <a:cubicBezTo>
                  <a:pt x="38262" y="86289"/>
                  <a:pt x="37464" y="94459"/>
                  <a:pt x="41701" y="100776"/>
                </a:cubicBezTo>
                <a:lnTo>
                  <a:pt x="56089" y="122232"/>
                </a:lnTo>
                <a:lnTo>
                  <a:pt x="38016" y="165855"/>
                </a:lnTo>
                <a:lnTo>
                  <a:pt x="12677" y="170852"/>
                </a:lnTo>
                <a:cubicBezTo>
                  <a:pt x="5213" y="172322"/>
                  <a:pt x="0" y="178663"/>
                  <a:pt x="0" y="186270"/>
                </a:cubicBezTo>
                <a:lnTo>
                  <a:pt x="0" y="238978"/>
                </a:lnTo>
                <a:cubicBezTo>
                  <a:pt x="0" y="246586"/>
                  <a:pt x="5213" y="252927"/>
                  <a:pt x="12676" y="254397"/>
                </a:cubicBezTo>
                <a:lnTo>
                  <a:pt x="38016" y="259393"/>
                </a:lnTo>
                <a:lnTo>
                  <a:pt x="56089" y="303017"/>
                </a:lnTo>
                <a:lnTo>
                  <a:pt x="41700" y="324473"/>
                </a:lnTo>
                <a:cubicBezTo>
                  <a:pt x="37463" y="330791"/>
                  <a:pt x="38262" y="338960"/>
                  <a:pt x="43641" y="344338"/>
                </a:cubicBezTo>
                <a:lnTo>
                  <a:pt x="80911" y="381607"/>
                </a:lnTo>
                <a:cubicBezTo>
                  <a:pt x="86289" y="386986"/>
                  <a:pt x="94458" y="387782"/>
                  <a:pt x="100776" y="383546"/>
                </a:cubicBezTo>
                <a:lnTo>
                  <a:pt x="122232" y="369158"/>
                </a:lnTo>
                <a:lnTo>
                  <a:pt x="165854" y="387231"/>
                </a:lnTo>
                <a:lnTo>
                  <a:pt x="170852" y="412573"/>
                </a:lnTo>
                <a:cubicBezTo>
                  <a:pt x="172322" y="420036"/>
                  <a:pt x="178663" y="425249"/>
                  <a:pt x="186270" y="425249"/>
                </a:cubicBezTo>
                <a:lnTo>
                  <a:pt x="238978" y="425249"/>
                </a:lnTo>
                <a:cubicBezTo>
                  <a:pt x="246586" y="425249"/>
                  <a:pt x="252926" y="420036"/>
                  <a:pt x="254397" y="412573"/>
                </a:cubicBezTo>
                <a:lnTo>
                  <a:pt x="259393" y="387231"/>
                </a:lnTo>
                <a:lnTo>
                  <a:pt x="303016" y="369158"/>
                </a:lnTo>
                <a:lnTo>
                  <a:pt x="324471" y="383546"/>
                </a:lnTo>
                <a:cubicBezTo>
                  <a:pt x="330789" y="387782"/>
                  <a:pt x="338959" y="386986"/>
                  <a:pt x="344338" y="381607"/>
                </a:cubicBezTo>
                <a:lnTo>
                  <a:pt x="381607" y="344338"/>
                </a:lnTo>
                <a:cubicBezTo>
                  <a:pt x="386987" y="338959"/>
                  <a:pt x="387785" y="330789"/>
                  <a:pt x="383548" y="324472"/>
                </a:cubicBezTo>
                <a:lnTo>
                  <a:pt x="369159" y="303017"/>
                </a:lnTo>
                <a:lnTo>
                  <a:pt x="387232" y="259393"/>
                </a:lnTo>
                <a:lnTo>
                  <a:pt x="412573" y="254397"/>
                </a:lnTo>
                <a:cubicBezTo>
                  <a:pt x="420036" y="252926"/>
                  <a:pt x="425248" y="246585"/>
                  <a:pt x="425248" y="238978"/>
                </a:cubicBezTo>
                <a:lnTo>
                  <a:pt x="425248" y="186270"/>
                </a:lnTo>
                <a:cubicBezTo>
                  <a:pt x="425248" y="178663"/>
                  <a:pt x="420036" y="172323"/>
                  <a:pt x="412574" y="170852"/>
                </a:cubicBezTo>
                <a:close/>
                <a:moveTo>
                  <a:pt x="413436" y="238979"/>
                </a:moveTo>
                <a:cubicBezTo>
                  <a:pt x="413436" y="240898"/>
                  <a:pt x="412171" y="242438"/>
                  <a:pt x="410289" y="242809"/>
                </a:cubicBezTo>
                <a:lnTo>
                  <a:pt x="381844" y="248417"/>
                </a:lnTo>
                <a:cubicBezTo>
                  <a:pt x="379905" y="248799"/>
                  <a:pt x="378286" y="250125"/>
                  <a:pt x="377530" y="251951"/>
                </a:cubicBezTo>
                <a:lnTo>
                  <a:pt x="357035" y="301419"/>
                </a:lnTo>
                <a:cubicBezTo>
                  <a:pt x="356279" y="303245"/>
                  <a:pt x="356486" y="305328"/>
                  <a:pt x="357586" y="306969"/>
                </a:cubicBezTo>
                <a:lnTo>
                  <a:pt x="373737" y="331051"/>
                </a:lnTo>
                <a:cubicBezTo>
                  <a:pt x="374807" y="332645"/>
                  <a:pt x="374612" y="334628"/>
                  <a:pt x="373256" y="335985"/>
                </a:cubicBezTo>
                <a:lnTo>
                  <a:pt x="335986" y="373255"/>
                </a:lnTo>
                <a:cubicBezTo>
                  <a:pt x="334628" y="374612"/>
                  <a:pt x="332645" y="374806"/>
                  <a:pt x="331050" y="373736"/>
                </a:cubicBezTo>
                <a:lnTo>
                  <a:pt x="306967" y="357585"/>
                </a:lnTo>
                <a:cubicBezTo>
                  <a:pt x="305327" y="356484"/>
                  <a:pt x="303243" y="356279"/>
                  <a:pt x="301417" y="357035"/>
                </a:cubicBezTo>
                <a:lnTo>
                  <a:pt x="251950" y="377529"/>
                </a:lnTo>
                <a:cubicBezTo>
                  <a:pt x="250125" y="378285"/>
                  <a:pt x="248798" y="379904"/>
                  <a:pt x="248416" y="381843"/>
                </a:cubicBezTo>
                <a:lnTo>
                  <a:pt x="242808" y="410288"/>
                </a:lnTo>
                <a:cubicBezTo>
                  <a:pt x="242438" y="412171"/>
                  <a:pt x="240898" y="413436"/>
                  <a:pt x="238979" y="413436"/>
                </a:cubicBezTo>
                <a:lnTo>
                  <a:pt x="186270" y="413436"/>
                </a:lnTo>
                <a:cubicBezTo>
                  <a:pt x="184352" y="413436"/>
                  <a:pt x="182812" y="412170"/>
                  <a:pt x="182441" y="410287"/>
                </a:cubicBezTo>
                <a:lnTo>
                  <a:pt x="176832" y="381842"/>
                </a:lnTo>
                <a:cubicBezTo>
                  <a:pt x="176451" y="379903"/>
                  <a:pt x="175125" y="378284"/>
                  <a:pt x="173299" y="377528"/>
                </a:cubicBezTo>
                <a:lnTo>
                  <a:pt x="123831" y="357034"/>
                </a:lnTo>
                <a:cubicBezTo>
                  <a:pt x="123105" y="356732"/>
                  <a:pt x="122337" y="356584"/>
                  <a:pt x="121572" y="356584"/>
                </a:cubicBezTo>
                <a:cubicBezTo>
                  <a:pt x="120417" y="356584"/>
                  <a:pt x="119269" y="356922"/>
                  <a:pt x="118282" y="357585"/>
                </a:cubicBezTo>
                <a:lnTo>
                  <a:pt x="94198" y="373736"/>
                </a:lnTo>
                <a:cubicBezTo>
                  <a:pt x="92603" y="374806"/>
                  <a:pt x="90621" y="374612"/>
                  <a:pt x="89264" y="373255"/>
                </a:cubicBezTo>
                <a:lnTo>
                  <a:pt x="51994" y="335985"/>
                </a:lnTo>
                <a:cubicBezTo>
                  <a:pt x="50638" y="334628"/>
                  <a:pt x="50444" y="332645"/>
                  <a:pt x="51513" y="331050"/>
                </a:cubicBezTo>
                <a:lnTo>
                  <a:pt x="67663" y="306968"/>
                </a:lnTo>
                <a:cubicBezTo>
                  <a:pt x="68764" y="305327"/>
                  <a:pt x="68971" y="303244"/>
                  <a:pt x="68214" y="301418"/>
                </a:cubicBezTo>
                <a:lnTo>
                  <a:pt x="47720" y="251950"/>
                </a:lnTo>
                <a:cubicBezTo>
                  <a:pt x="46964" y="250124"/>
                  <a:pt x="45345" y="248798"/>
                  <a:pt x="43406" y="248416"/>
                </a:cubicBezTo>
                <a:lnTo>
                  <a:pt x="14961" y="242808"/>
                </a:lnTo>
                <a:cubicBezTo>
                  <a:pt x="13079" y="242437"/>
                  <a:pt x="11814" y="240897"/>
                  <a:pt x="11814" y="238978"/>
                </a:cubicBezTo>
                <a:lnTo>
                  <a:pt x="11814" y="186270"/>
                </a:lnTo>
                <a:cubicBezTo>
                  <a:pt x="11814" y="184351"/>
                  <a:pt x="13080" y="182812"/>
                  <a:pt x="14963" y="182441"/>
                </a:cubicBezTo>
                <a:lnTo>
                  <a:pt x="43407" y="176832"/>
                </a:lnTo>
                <a:cubicBezTo>
                  <a:pt x="45345" y="176450"/>
                  <a:pt x="46964" y="175124"/>
                  <a:pt x="47720" y="173299"/>
                </a:cubicBezTo>
                <a:lnTo>
                  <a:pt x="68214" y="123830"/>
                </a:lnTo>
                <a:cubicBezTo>
                  <a:pt x="68970" y="122005"/>
                  <a:pt x="68763" y="119921"/>
                  <a:pt x="67663" y="118280"/>
                </a:cubicBezTo>
                <a:lnTo>
                  <a:pt x="51513" y="94197"/>
                </a:lnTo>
                <a:cubicBezTo>
                  <a:pt x="50444" y="92603"/>
                  <a:pt x="50638" y="90620"/>
                  <a:pt x="51994" y="89263"/>
                </a:cubicBezTo>
                <a:lnTo>
                  <a:pt x="89264" y="51994"/>
                </a:lnTo>
                <a:cubicBezTo>
                  <a:pt x="90622" y="50638"/>
                  <a:pt x="92604" y="50444"/>
                  <a:pt x="94199" y="51512"/>
                </a:cubicBezTo>
                <a:lnTo>
                  <a:pt x="118281" y="67662"/>
                </a:lnTo>
                <a:cubicBezTo>
                  <a:pt x="119921" y="68764"/>
                  <a:pt x="122006" y="68970"/>
                  <a:pt x="123830" y="68213"/>
                </a:cubicBezTo>
                <a:lnTo>
                  <a:pt x="173299" y="47718"/>
                </a:lnTo>
                <a:cubicBezTo>
                  <a:pt x="175125" y="46962"/>
                  <a:pt x="176451" y="45343"/>
                  <a:pt x="176832" y="43404"/>
                </a:cubicBezTo>
                <a:lnTo>
                  <a:pt x="182442" y="14960"/>
                </a:lnTo>
                <a:cubicBezTo>
                  <a:pt x="182812" y="13076"/>
                  <a:pt x="184352" y="11812"/>
                  <a:pt x="186270" y="11812"/>
                </a:cubicBezTo>
                <a:lnTo>
                  <a:pt x="238979" y="11812"/>
                </a:lnTo>
                <a:cubicBezTo>
                  <a:pt x="240898" y="11812"/>
                  <a:pt x="242438" y="13076"/>
                  <a:pt x="242808" y="14960"/>
                </a:cubicBezTo>
                <a:lnTo>
                  <a:pt x="248416" y="43404"/>
                </a:lnTo>
                <a:cubicBezTo>
                  <a:pt x="248798" y="45343"/>
                  <a:pt x="250125" y="46961"/>
                  <a:pt x="251951" y="47718"/>
                </a:cubicBezTo>
                <a:lnTo>
                  <a:pt x="301419" y="68213"/>
                </a:lnTo>
                <a:cubicBezTo>
                  <a:pt x="303243" y="68969"/>
                  <a:pt x="305328" y="68762"/>
                  <a:pt x="306968" y="67662"/>
                </a:cubicBezTo>
                <a:lnTo>
                  <a:pt x="331050" y="51513"/>
                </a:lnTo>
                <a:cubicBezTo>
                  <a:pt x="332643" y="50442"/>
                  <a:pt x="334627" y="50637"/>
                  <a:pt x="335986" y="51994"/>
                </a:cubicBezTo>
                <a:lnTo>
                  <a:pt x="373256" y="89263"/>
                </a:lnTo>
                <a:cubicBezTo>
                  <a:pt x="374612" y="90620"/>
                  <a:pt x="374806" y="92603"/>
                  <a:pt x="373737" y="94198"/>
                </a:cubicBezTo>
                <a:lnTo>
                  <a:pt x="357586" y="118280"/>
                </a:lnTo>
                <a:cubicBezTo>
                  <a:pt x="356485" y="119921"/>
                  <a:pt x="356279" y="122005"/>
                  <a:pt x="357035" y="123830"/>
                </a:cubicBezTo>
                <a:lnTo>
                  <a:pt x="377530" y="173299"/>
                </a:lnTo>
                <a:cubicBezTo>
                  <a:pt x="378286" y="175125"/>
                  <a:pt x="379905" y="176450"/>
                  <a:pt x="381843" y="176832"/>
                </a:cubicBezTo>
                <a:lnTo>
                  <a:pt x="410288" y="182441"/>
                </a:lnTo>
                <a:cubicBezTo>
                  <a:pt x="412171" y="182812"/>
                  <a:pt x="413436" y="184351"/>
                  <a:pt x="413436" y="186270"/>
                </a:cubicBezTo>
                <a:lnTo>
                  <a:pt x="413436" y="238978"/>
                </a:lnTo>
                <a:close/>
                <a:moveTo>
                  <a:pt x="212624" y="68646"/>
                </a:moveTo>
                <a:cubicBezTo>
                  <a:pt x="133233" y="68646"/>
                  <a:pt x="68644" y="133235"/>
                  <a:pt x="68644" y="212626"/>
                </a:cubicBezTo>
                <a:cubicBezTo>
                  <a:pt x="68644" y="292017"/>
                  <a:pt x="133233" y="356606"/>
                  <a:pt x="212624" y="356606"/>
                </a:cubicBezTo>
                <a:cubicBezTo>
                  <a:pt x="292015" y="356606"/>
                  <a:pt x="356604" y="292017"/>
                  <a:pt x="356604" y="212626"/>
                </a:cubicBezTo>
                <a:cubicBezTo>
                  <a:pt x="356604" y="133235"/>
                  <a:pt x="292015" y="68646"/>
                  <a:pt x="212624" y="68646"/>
                </a:cubicBezTo>
                <a:close/>
                <a:moveTo>
                  <a:pt x="212624" y="344793"/>
                </a:moveTo>
                <a:cubicBezTo>
                  <a:pt x="139747" y="344793"/>
                  <a:pt x="80457" y="285502"/>
                  <a:pt x="80457" y="212625"/>
                </a:cubicBezTo>
                <a:cubicBezTo>
                  <a:pt x="80457" y="139748"/>
                  <a:pt x="139747" y="80457"/>
                  <a:pt x="212624" y="80457"/>
                </a:cubicBezTo>
                <a:cubicBezTo>
                  <a:pt x="285501" y="80457"/>
                  <a:pt x="344792" y="139748"/>
                  <a:pt x="344792" y="212625"/>
                </a:cubicBezTo>
                <a:cubicBezTo>
                  <a:pt x="344792" y="285502"/>
                  <a:pt x="285501" y="344793"/>
                  <a:pt x="212624" y="344793"/>
                </a:cubicBezTo>
                <a:close/>
                <a:moveTo>
                  <a:pt x="262757" y="108876"/>
                </a:moveTo>
                <a:lnTo>
                  <a:pt x="162490" y="108876"/>
                </a:lnTo>
                <a:cubicBezTo>
                  <a:pt x="155021" y="108876"/>
                  <a:pt x="148596" y="112585"/>
                  <a:pt x="144863" y="119053"/>
                </a:cubicBezTo>
                <a:lnTo>
                  <a:pt x="114985" y="170800"/>
                </a:lnTo>
                <a:cubicBezTo>
                  <a:pt x="114466" y="171698"/>
                  <a:pt x="114194" y="172716"/>
                  <a:pt x="114194" y="173753"/>
                </a:cubicBezTo>
                <a:lnTo>
                  <a:pt x="114194" y="184117"/>
                </a:lnTo>
                <a:cubicBezTo>
                  <a:pt x="114194" y="193541"/>
                  <a:pt x="118584" y="201876"/>
                  <a:pt x="125666" y="207083"/>
                </a:cubicBezTo>
                <a:lnTo>
                  <a:pt x="125666" y="286875"/>
                </a:lnTo>
                <a:cubicBezTo>
                  <a:pt x="125666" y="296421"/>
                  <a:pt x="133433" y="304188"/>
                  <a:pt x="142979" y="304188"/>
                </a:cubicBezTo>
                <a:lnTo>
                  <a:pt x="282270" y="304188"/>
                </a:lnTo>
                <a:cubicBezTo>
                  <a:pt x="291815" y="304188"/>
                  <a:pt x="299583" y="296421"/>
                  <a:pt x="299583" y="286875"/>
                </a:cubicBezTo>
                <a:lnTo>
                  <a:pt x="299583" y="207083"/>
                </a:lnTo>
                <a:cubicBezTo>
                  <a:pt x="306664" y="201876"/>
                  <a:pt x="311055" y="193541"/>
                  <a:pt x="311055" y="184117"/>
                </a:cubicBezTo>
                <a:lnTo>
                  <a:pt x="311055" y="173753"/>
                </a:lnTo>
                <a:cubicBezTo>
                  <a:pt x="311055" y="172716"/>
                  <a:pt x="310783" y="171698"/>
                  <a:pt x="310264" y="170800"/>
                </a:cubicBezTo>
                <a:lnTo>
                  <a:pt x="280387" y="119052"/>
                </a:lnTo>
                <a:cubicBezTo>
                  <a:pt x="276652" y="112585"/>
                  <a:pt x="270227" y="108875"/>
                  <a:pt x="262758" y="108875"/>
                </a:cubicBezTo>
                <a:close/>
                <a:moveTo>
                  <a:pt x="270156" y="124959"/>
                </a:moveTo>
                <a:lnTo>
                  <a:pt x="294918" y="167847"/>
                </a:lnTo>
                <a:lnTo>
                  <a:pt x="263037" y="167847"/>
                </a:lnTo>
                <a:lnTo>
                  <a:pt x="246066" y="120688"/>
                </a:lnTo>
                <a:lnTo>
                  <a:pt x="262756" y="120688"/>
                </a:lnTo>
                <a:cubicBezTo>
                  <a:pt x="265937" y="120688"/>
                  <a:pt x="268565" y="122205"/>
                  <a:pt x="270155" y="124959"/>
                </a:cubicBezTo>
                <a:close/>
                <a:moveTo>
                  <a:pt x="285668" y="200558"/>
                </a:moveTo>
                <a:cubicBezTo>
                  <a:pt x="284469" y="200789"/>
                  <a:pt x="283240" y="200906"/>
                  <a:pt x="282017" y="200906"/>
                </a:cubicBezTo>
                <a:cubicBezTo>
                  <a:pt x="274681" y="200906"/>
                  <a:pt x="268043" y="196758"/>
                  <a:pt x="264792" y="190255"/>
                </a:cubicBezTo>
                <a:lnTo>
                  <a:pt x="264792" y="179660"/>
                </a:lnTo>
                <a:lnTo>
                  <a:pt x="299242" y="179660"/>
                </a:lnTo>
                <a:lnTo>
                  <a:pt x="299242" y="184117"/>
                </a:lnTo>
                <a:cubicBezTo>
                  <a:pt x="299242" y="192257"/>
                  <a:pt x="293660" y="199018"/>
                  <a:pt x="285668" y="200558"/>
                </a:cubicBezTo>
                <a:close/>
                <a:moveTo>
                  <a:pt x="126006" y="184117"/>
                </a:moveTo>
                <a:lnTo>
                  <a:pt x="126006" y="179660"/>
                </a:lnTo>
                <a:lnTo>
                  <a:pt x="160456" y="179660"/>
                </a:lnTo>
                <a:lnTo>
                  <a:pt x="160456" y="190255"/>
                </a:lnTo>
                <a:cubicBezTo>
                  <a:pt x="157206" y="196757"/>
                  <a:pt x="150567" y="200906"/>
                  <a:pt x="143232" y="200906"/>
                </a:cubicBezTo>
                <a:cubicBezTo>
                  <a:pt x="142008" y="200906"/>
                  <a:pt x="140780" y="200789"/>
                  <a:pt x="139581" y="200558"/>
                </a:cubicBezTo>
                <a:cubicBezTo>
                  <a:pt x="131588" y="199018"/>
                  <a:pt x="126006" y="192257"/>
                  <a:pt x="126006" y="184117"/>
                </a:cubicBezTo>
                <a:close/>
                <a:moveTo>
                  <a:pt x="172268" y="179660"/>
                </a:moveTo>
                <a:lnTo>
                  <a:pt x="206717" y="179660"/>
                </a:lnTo>
                <a:lnTo>
                  <a:pt x="206717" y="190255"/>
                </a:lnTo>
                <a:cubicBezTo>
                  <a:pt x="203468" y="196757"/>
                  <a:pt x="196829" y="200905"/>
                  <a:pt x="189493" y="200905"/>
                </a:cubicBezTo>
                <a:cubicBezTo>
                  <a:pt x="182156" y="200905"/>
                  <a:pt x="175519" y="196757"/>
                  <a:pt x="172268" y="190254"/>
                </a:cubicBezTo>
                <a:lnTo>
                  <a:pt x="172268" y="179659"/>
                </a:lnTo>
                <a:close/>
                <a:moveTo>
                  <a:pt x="206717" y="167847"/>
                </a:moveTo>
                <a:lnTo>
                  <a:pt x="174764" y="167847"/>
                </a:lnTo>
                <a:lnTo>
                  <a:pt x="191733" y="120688"/>
                </a:lnTo>
                <a:lnTo>
                  <a:pt x="206717" y="120688"/>
                </a:lnTo>
                <a:close/>
                <a:moveTo>
                  <a:pt x="218530" y="120688"/>
                </a:moveTo>
                <a:lnTo>
                  <a:pt x="233514" y="120688"/>
                </a:lnTo>
                <a:lnTo>
                  <a:pt x="250483" y="167847"/>
                </a:lnTo>
                <a:lnTo>
                  <a:pt x="218530" y="167847"/>
                </a:lnTo>
                <a:close/>
                <a:moveTo>
                  <a:pt x="218530" y="179660"/>
                </a:moveTo>
                <a:lnTo>
                  <a:pt x="252979" y="179660"/>
                </a:lnTo>
                <a:lnTo>
                  <a:pt x="252979" y="190255"/>
                </a:lnTo>
                <a:cubicBezTo>
                  <a:pt x="249729" y="196757"/>
                  <a:pt x="243090" y="200906"/>
                  <a:pt x="235755" y="200906"/>
                </a:cubicBezTo>
                <a:cubicBezTo>
                  <a:pt x="228419" y="200906"/>
                  <a:pt x="221780" y="196758"/>
                  <a:pt x="218530" y="190255"/>
                </a:cubicBezTo>
                <a:close/>
                <a:moveTo>
                  <a:pt x="155092" y="124959"/>
                </a:moveTo>
                <a:cubicBezTo>
                  <a:pt x="156682" y="122205"/>
                  <a:pt x="159309" y="120687"/>
                  <a:pt x="162490" y="120687"/>
                </a:cubicBezTo>
                <a:lnTo>
                  <a:pt x="179180" y="120687"/>
                </a:lnTo>
                <a:lnTo>
                  <a:pt x="162210" y="167846"/>
                </a:lnTo>
                <a:lnTo>
                  <a:pt x="130331" y="167846"/>
                </a:lnTo>
                <a:lnTo>
                  <a:pt x="155093" y="124958"/>
                </a:lnTo>
                <a:close/>
                <a:moveTo>
                  <a:pt x="202184" y="292375"/>
                </a:moveTo>
                <a:lnTo>
                  <a:pt x="168972" y="292375"/>
                </a:lnTo>
                <a:lnTo>
                  <a:pt x="168972" y="241923"/>
                </a:lnTo>
                <a:lnTo>
                  <a:pt x="202184" y="241923"/>
                </a:lnTo>
                <a:close/>
                <a:moveTo>
                  <a:pt x="282269" y="292375"/>
                </a:moveTo>
                <a:lnTo>
                  <a:pt x="213996" y="292375"/>
                </a:lnTo>
                <a:lnTo>
                  <a:pt x="213996" y="236017"/>
                </a:lnTo>
                <a:cubicBezTo>
                  <a:pt x="213996" y="232755"/>
                  <a:pt x="211352" y="230111"/>
                  <a:pt x="208090" y="230111"/>
                </a:cubicBezTo>
                <a:lnTo>
                  <a:pt x="163066" y="230111"/>
                </a:lnTo>
                <a:cubicBezTo>
                  <a:pt x="159804" y="230111"/>
                  <a:pt x="157159" y="232755"/>
                  <a:pt x="157159" y="236017"/>
                </a:cubicBezTo>
                <a:lnTo>
                  <a:pt x="157159" y="292375"/>
                </a:lnTo>
                <a:lnTo>
                  <a:pt x="142979" y="292375"/>
                </a:lnTo>
                <a:cubicBezTo>
                  <a:pt x="139945" y="292375"/>
                  <a:pt x="137478" y="289907"/>
                  <a:pt x="137478" y="286874"/>
                </a:cubicBezTo>
                <a:lnTo>
                  <a:pt x="137478" y="212178"/>
                </a:lnTo>
                <a:cubicBezTo>
                  <a:pt x="139370" y="212534"/>
                  <a:pt x="141305" y="212717"/>
                  <a:pt x="143231" y="212717"/>
                </a:cubicBezTo>
                <a:cubicBezTo>
                  <a:pt x="152221" y="212717"/>
                  <a:pt x="160570" y="208859"/>
                  <a:pt x="166361" y="202404"/>
                </a:cubicBezTo>
                <a:cubicBezTo>
                  <a:pt x="172153" y="208859"/>
                  <a:pt x="180502" y="212717"/>
                  <a:pt x="189492" y="212717"/>
                </a:cubicBezTo>
                <a:cubicBezTo>
                  <a:pt x="198482" y="212717"/>
                  <a:pt x="206832" y="208859"/>
                  <a:pt x="212622" y="202404"/>
                </a:cubicBezTo>
                <a:cubicBezTo>
                  <a:pt x="218414" y="208859"/>
                  <a:pt x="226764" y="212717"/>
                  <a:pt x="235754" y="212717"/>
                </a:cubicBezTo>
                <a:cubicBezTo>
                  <a:pt x="244744" y="212717"/>
                  <a:pt x="253093" y="208859"/>
                  <a:pt x="258884" y="202404"/>
                </a:cubicBezTo>
                <a:cubicBezTo>
                  <a:pt x="264676" y="208859"/>
                  <a:pt x="273025" y="212717"/>
                  <a:pt x="282015" y="212717"/>
                </a:cubicBezTo>
                <a:cubicBezTo>
                  <a:pt x="283942" y="212717"/>
                  <a:pt x="285876" y="212534"/>
                  <a:pt x="287768" y="212178"/>
                </a:cubicBezTo>
                <a:lnTo>
                  <a:pt x="287768" y="286874"/>
                </a:lnTo>
                <a:cubicBezTo>
                  <a:pt x="287768" y="289907"/>
                  <a:pt x="285301" y="292375"/>
                  <a:pt x="282267" y="292375"/>
                </a:cubicBezTo>
                <a:close/>
                <a:moveTo>
                  <a:pt x="233152" y="230112"/>
                </a:moveTo>
                <a:lnTo>
                  <a:pt x="268613" y="230112"/>
                </a:lnTo>
                <a:lnTo>
                  <a:pt x="268613" y="241924"/>
                </a:lnTo>
                <a:lnTo>
                  <a:pt x="233152" y="241924"/>
                </a:lnTo>
                <a:close/>
              </a:path>
            </a:pathLst>
          </a:custGeom>
          <a:solidFill>
            <a:schemeClr val="accent2"/>
          </a:solidFill>
          <a:ln w="837" cap="flat">
            <a:noFill/>
            <a:prstDash val="solid"/>
            <a:miter/>
          </a:ln>
        </p:spPr>
        <p:txBody>
          <a:bodyPr rtlCol="0" anchor="ctr"/>
          <a:lstStyle/>
          <a:p>
            <a:pPr defTabSz="685739"/>
            <a:endParaRPr lang="en-GB" sz="1350" dirty="0">
              <a:solidFill>
                <a:srgbClr val="000000"/>
              </a:solidFill>
            </a:endParaRPr>
          </a:p>
        </p:txBody>
      </p:sp>
      <p:sp>
        <p:nvSpPr>
          <p:cNvPr id="52" name="Title 1">
            <a:extLst>
              <a:ext uri="{FF2B5EF4-FFF2-40B4-BE49-F238E27FC236}">
                <a16:creationId xmlns:a16="http://schemas.microsoft.com/office/drawing/2014/main" id="{21447721-54CD-383E-FD81-C453C31E2A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142" y="361604"/>
            <a:ext cx="8353718" cy="307094"/>
          </a:xfrm>
        </p:spPr>
        <p:txBody>
          <a:bodyPr vert="horz"/>
          <a:lstStyle/>
          <a:p>
            <a:pPr algn="ctr"/>
            <a:r>
              <a:rPr lang="en-US" sz="2400" b="1" dirty="0">
                <a:solidFill>
                  <a:schemeClr val="tx1"/>
                </a:solidFill>
              </a:rPr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251416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fault Theme">
  <a:themeElements>
    <a:clrScheme name="Layouts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1BA8F0"/>
      </a:accent1>
      <a:accent2>
        <a:srgbClr val="F24C00"/>
      </a:accent2>
      <a:accent3>
        <a:srgbClr val="9A4EF0"/>
      </a:accent3>
      <a:accent4>
        <a:srgbClr val="F9D030"/>
      </a:accent4>
      <a:accent5>
        <a:srgbClr val="B5BAD0"/>
      </a:accent5>
      <a:accent6>
        <a:srgbClr val="D9D9D9"/>
      </a:accent6>
      <a:hlink>
        <a:srgbClr val="0097A7"/>
      </a:hlink>
      <a:folHlink>
        <a:srgbClr val="0097A7"/>
      </a:folHlink>
    </a:clrScheme>
    <a:fontScheme name="Custom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</a:ln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algn="l">
          <a:defRPr sz="2400"/>
        </a:defPPr>
      </a:lstStyle>
    </a:sp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DC9A12D594F4146A736B61C75F2A9F0" ma:contentTypeVersion="17" ma:contentTypeDescription="Create a new document." ma:contentTypeScope="" ma:versionID="a1d50fb90419390532d99b45a4ed6133">
  <xsd:schema xmlns:xsd="http://www.w3.org/2001/XMLSchema" xmlns:xs="http://www.w3.org/2001/XMLSchema" xmlns:p="http://schemas.microsoft.com/office/2006/metadata/properties" xmlns:ns2="5de708c7-6ebf-4b51-a995-ecc64498b673" xmlns:ns3="f7eaa6df-661f-4604-8cff-c91cf36610a5" targetNamespace="http://schemas.microsoft.com/office/2006/metadata/properties" ma:root="true" ma:fieldsID="68249f772d28c5b9b7979242c3909515" ns2:_="" ns3:_="">
    <xsd:import namespace="5de708c7-6ebf-4b51-a995-ecc64498b673"/>
    <xsd:import namespace="f7eaa6df-661f-4604-8cff-c91cf36610a5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lcf76f155ced4ddcb4097134ff3c332f" minOccurs="0"/>
                <xsd:element ref="ns2:TaxCatchAll" minOccurs="0"/>
                <xsd:element ref="ns3:MediaServiceMetadata" minOccurs="0"/>
                <xsd:element ref="ns3:MediaServiceFastMetadata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  <xsd:element ref="ns3:MediaServiceDateTaken" minOccurs="0"/>
                <xsd:element ref="ns3:MediaServiceLocation" minOccurs="0"/>
                <xsd:element ref="ns3:MediaLengthInSeconds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de708c7-6ebf-4b51-a995-ecc64498b673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2" nillable="true" ma:displayName="Taxonomy Catch All Column" ma:hidden="true" ma:list="{f05cd9bb-e26c-4d4d-b542-f947deadef19}" ma:internalName="TaxCatchAll" ma:showField="CatchAllData" ma:web="5de708c7-6ebf-4b51-a995-ecc64498b67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7eaa6df-661f-4604-8cff-c91cf36610a5" elementFormDefault="qualified">
    <xsd:import namespace="http://schemas.microsoft.com/office/2006/documentManagement/types"/>
    <xsd:import namespace="http://schemas.microsoft.com/office/infopath/2007/PartnerControls"/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a0cf11a8-953d-4432-81d3-596c7ca2a3c6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Metadata" ma:index="13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4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20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  <xsd:element name="MediaLengthInSeconds" ma:index="22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23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f7eaa6df-661f-4604-8cff-c91cf36610a5">
      <Terms xmlns="http://schemas.microsoft.com/office/infopath/2007/PartnerControls"/>
    </lcf76f155ced4ddcb4097134ff3c332f>
    <TaxCatchAll xmlns="5de708c7-6ebf-4b51-a995-ecc64498b673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5070694-5BCD-4560-8D15-C90064B3623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de708c7-6ebf-4b51-a995-ecc64498b673"/>
    <ds:schemaRef ds:uri="f7eaa6df-661f-4604-8cff-c91cf36610a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599C55FE-76FD-4AF1-B3FF-279BDD20D193}">
  <ds:schemaRefs>
    <ds:schemaRef ds:uri="http://schemas.microsoft.com/office/infopath/2007/PartnerControls"/>
    <ds:schemaRef ds:uri="http://purl.org/dc/elements/1.1/"/>
    <ds:schemaRef ds:uri="f7eaa6df-661f-4604-8cff-c91cf36610a5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www.w3.org/XML/1998/namespace"/>
    <ds:schemaRef ds:uri="5de708c7-6ebf-4b51-a995-ecc64498b673"/>
    <ds:schemaRef ds:uri="http://schemas.microsoft.com/office/2006/metadata/properties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9C06E274-973E-448B-9D45-89990A78625F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2013 - 2022 Theme</Template>
  <TotalTime>17</TotalTime>
  <Words>74</Words>
  <Application>Microsoft Office PowerPoint</Application>
  <PresentationFormat>On-screen Show (16:9)</PresentationFormat>
  <Paragraphs>1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rial</vt:lpstr>
      <vt:lpstr>Calibri</vt:lpstr>
      <vt:lpstr>Default Theme</vt:lpstr>
      <vt:lpstr>think-cell Slide</vt:lpstr>
      <vt:lpstr>Slide titl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Admin</dc:creator>
  <cp:keywords>3D pyramid, analytics, business hierarchy, colorful infographic, data visualization, infographic design, layered pyramid, marketing strategy, multilevel chart, pyramid chart, pyramid diagram, sales funnel, segmented layers, strategic planning, visual hierarchy</cp:keywords>
  <cp:lastModifiedBy>Aqdas Shaikh</cp:lastModifiedBy>
  <cp:revision>8</cp:revision>
  <dcterms:created xsi:type="dcterms:W3CDTF">2025-01-01T18:48:06Z</dcterms:created>
  <dcterms:modified xsi:type="dcterms:W3CDTF">2025-09-21T07:22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DC9A12D594F4146A736B61C75F2A9F0</vt:lpwstr>
  </property>
  <property fmtid="{D5CDD505-2E9C-101B-9397-08002B2CF9AE}" pid="3" name="MediaServiceImageTags">
    <vt:lpwstr/>
  </property>
</Properties>
</file>